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1"/>
  </p:sldMasterIdLst>
  <p:notesMasterIdLst>
    <p:notesMasterId r:id="rId14"/>
  </p:notesMasterIdLst>
  <p:sldIdLst>
    <p:sldId id="345" r:id="rId2"/>
    <p:sldId id="346" r:id="rId3"/>
    <p:sldId id="347" r:id="rId4"/>
    <p:sldId id="348" r:id="rId5"/>
    <p:sldId id="349" r:id="rId6"/>
    <p:sldId id="351" r:id="rId7"/>
    <p:sldId id="353" r:id="rId8"/>
    <p:sldId id="354" r:id="rId9"/>
    <p:sldId id="355" r:id="rId10"/>
    <p:sldId id="260" r:id="rId11"/>
    <p:sldId id="261" r:id="rId12"/>
    <p:sldId id="262" r:id="rId13"/>
  </p:sldIdLst>
  <p:sldSz cx="9144000" cy="5143500" type="screen16x9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9">
          <p15:clr>
            <a:srgbClr val="A4A3A4"/>
          </p15:clr>
        </p15:guide>
        <p15:guide id="2" orient="horz" pos="2618">
          <p15:clr>
            <a:srgbClr val="A4A3A4"/>
          </p15:clr>
        </p15:guide>
        <p15:guide id="3" orient="horz" pos="1756">
          <p15:clr>
            <a:srgbClr val="A4A3A4"/>
          </p15:clr>
        </p15:guide>
        <p15:guide id="4" orient="horz" pos="1711">
          <p15:clr>
            <a:srgbClr val="A4A3A4"/>
          </p15:clr>
        </p15:guide>
        <p15:guide id="5" orient="horz" pos="123">
          <p15:clr>
            <a:srgbClr val="A4A3A4"/>
          </p15:clr>
        </p15:guide>
        <p15:guide id="6" orient="horz" pos="3117">
          <p15:clr>
            <a:srgbClr val="A4A3A4"/>
          </p15:clr>
        </p15:guide>
        <p15:guide id="7" orient="horz" pos="3026">
          <p15:clr>
            <a:srgbClr val="A4A3A4"/>
          </p15:clr>
        </p15:guide>
        <p15:guide id="8" orient="horz" pos="2845">
          <p15:clr>
            <a:srgbClr val="A4A3A4"/>
          </p15:clr>
        </p15:guide>
        <p15:guide id="9" pos="249">
          <p15:clr>
            <a:srgbClr val="A4A3A4"/>
          </p15:clr>
        </p15:guide>
        <p15:guide id="10" pos="2857">
          <p15:clr>
            <a:srgbClr val="A4A3A4"/>
          </p15:clr>
        </p15:guide>
        <p15:guide id="11" pos="2903">
          <p15:clr>
            <a:srgbClr val="A4A3A4"/>
          </p15:clr>
        </p15:guide>
        <p15:guide id="12" pos="3787">
          <p15:clr>
            <a:srgbClr val="A4A3A4"/>
          </p15:clr>
        </p15:guide>
        <p15:guide id="13" pos="3742">
          <p15:clr>
            <a:srgbClr val="A4A3A4"/>
          </p15:clr>
        </p15:guide>
        <p15:guide id="14" pos="2018">
          <p15:clr>
            <a:srgbClr val="A4A3A4"/>
          </p15:clr>
        </p15:guide>
        <p15:guide id="15" pos="1973">
          <p15:clr>
            <a:srgbClr val="A4A3A4"/>
          </p15:clr>
        </p15:guide>
        <p15:guide id="16" pos="5511">
          <p15:clr>
            <a:srgbClr val="A4A3A4"/>
          </p15:clr>
        </p15:guide>
        <p15:guide id="17" pos="113">
          <p15:clr>
            <a:srgbClr val="A4A3A4"/>
          </p15:clr>
        </p15:guide>
        <p15:guide id="18" pos="5647">
          <p15:clr>
            <a:srgbClr val="A4A3A4"/>
          </p15:clr>
        </p15:guide>
        <p15:guide id="19" pos="546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F5F5F"/>
    <a:srgbClr val="747474"/>
    <a:srgbClr val="A6A6A6"/>
    <a:srgbClr val="B2B2B2"/>
    <a:srgbClr val="EAEAEA"/>
    <a:srgbClr val="FFFDFD"/>
    <a:srgbClr val="FFFDFE"/>
    <a:srgbClr val="FFFEFE"/>
    <a:srgbClr val="FFFE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78" autoAdjust="0"/>
    <p:restoredTop sz="85732" autoAdjust="0"/>
  </p:normalViewPr>
  <p:slideViewPr>
    <p:cSldViewPr snapToObjects="1" showGuides="1">
      <p:cViewPr varScale="1">
        <p:scale>
          <a:sx n="82" d="100"/>
          <a:sy n="82" d="100"/>
        </p:scale>
        <p:origin x="1080" y="84"/>
      </p:cViewPr>
      <p:guideLst>
        <p:guide orient="horz" pos="849"/>
        <p:guide orient="horz" pos="2618"/>
        <p:guide orient="horz" pos="1756"/>
        <p:guide orient="horz" pos="1711"/>
        <p:guide orient="horz" pos="123"/>
        <p:guide orient="horz" pos="3117"/>
        <p:guide orient="horz" pos="3026"/>
        <p:guide orient="horz" pos="2845"/>
        <p:guide pos="249"/>
        <p:guide pos="2857"/>
        <p:guide pos="2903"/>
        <p:guide pos="3787"/>
        <p:guide pos="3742"/>
        <p:guide pos="2018"/>
        <p:guide pos="1973"/>
        <p:guide pos="5511"/>
        <p:guide pos="113"/>
        <p:guide pos="5647"/>
        <p:guide pos="546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C568D1-65C2-4CDE-9B8E-4F04E333B056}" type="datetimeFigureOut">
              <a:rPr lang="en-US" smtClean="0"/>
              <a:pPr/>
              <a:t>6/17/2020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17575" y="4714875"/>
            <a:ext cx="4962525" cy="44672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CD5AE8-B077-49EA-8F01-5B4042BFABD6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73956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498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89693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249363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622425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EIHrzcrB_3E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youtube.com/watch?v=6mW_gzdh6to" TargetMode="Externa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MX" dirty="0"/>
              <a:t>Reference:</a:t>
            </a:r>
          </a:p>
          <a:p>
            <a:r>
              <a:rPr lang="es-MX" b="1" dirty="0" err="1"/>
              <a:t>Stability</a:t>
            </a:r>
            <a:r>
              <a:rPr lang="es-MX" b="1" dirty="0"/>
              <a:t> and Control </a:t>
            </a:r>
            <a:r>
              <a:rPr lang="es-MX" b="1" dirty="0" err="1"/>
              <a:t>Considerations</a:t>
            </a:r>
            <a:r>
              <a:rPr lang="es-MX" b="1" dirty="0"/>
              <a:t> </a:t>
            </a:r>
            <a:r>
              <a:rPr lang="es-MX" b="1" dirty="0" err="1"/>
              <a:t>of</a:t>
            </a:r>
            <a:r>
              <a:rPr lang="es-MX" b="1" dirty="0"/>
              <a:t> </a:t>
            </a:r>
            <a:r>
              <a:rPr lang="es-MX" b="1" dirty="0" err="1"/>
              <a:t>Vehicle-Trailer</a:t>
            </a:r>
            <a:r>
              <a:rPr lang="es-MX" b="1" dirty="0"/>
              <a:t> </a:t>
            </a:r>
            <a:r>
              <a:rPr lang="es-MX" b="1" dirty="0" err="1"/>
              <a:t>Combination</a:t>
            </a:r>
            <a:r>
              <a:rPr lang="es-MX" b="1" dirty="0"/>
              <a:t> / Aleksander </a:t>
            </a:r>
            <a:r>
              <a:rPr lang="es-MX" b="1" dirty="0" err="1"/>
              <a:t>Hac</a:t>
            </a:r>
            <a:r>
              <a:rPr lang="es-MX" b="1" dirty="0"/>
              <a:t>, Daniel </a:t>
            </a:r>
            <a:r>
              <a:rPr lang="es-MX" b="1" dirty="0" err="1"/>
              <a:t>Fulk</a:t>
            </a:r>
            <a:r>
              <a:rPr lang="es-MX" b="1" dirty="0"/>
              <a:t> </a:t>
            </a:r>
            <a:r>
              <a:rPr lang="es-MX" b="1" dirty="0" err="1"/>
              <a:t>Hsien</a:t>
            </a:r>
            <a:r>
              <a:rPr lang="es-MX" b="1" dirty="0"/>
              <a:t> Chen</a:t>
            </a:r>
          </a:p>
          <a:p>
            <a:r>
              <a:rPr lang="es-MX" dirty="0"/>
              <a:t>Delphi </a:t>
            </a:r>
            <a:r>
              <a:rPr lang="es-MX" dirty="0" err="1"/>
              <a:t>Corporation</a:t>
            </a:r>
            <a:endParaRPr lang="es-MX" dirty="0"/>
          </a:p>
          <a:p>
            <a:endParaRPr lang="es-MX" dirty="0"/>
          </a:p>
          <a:p>
            <a:r>
              <a:rPr lang="es-MX" b="1" dirty="0" err="1"/>
              <a:t>Introduction</a:t>
            </a:r>
            <a:r>
              <a:rPr lang="es-MX" b="1" dirty="0"/>
              <a:t>:</a:t>
            </a:r>
          </a:p>
          <a:p>
            <a:endParaRPr lang="es-MX" dirty="0"/>
          </a:p>
          <a:p>
            <a:r>
              <a:rPr lang="en-US" dirty="0"/>
              <a:t>Handling behavior of articulated vehicles is more complex and less predictable than that of non-articulated vehicles. This poses challenge to on-expert drives of light vehicles, who occasionally tow recreational trailers and may not have good understanding of dynamics complexity of vehicle-trailer combination. </a:t>
            </a:r>
          </a:p>
          <a:p>
            <a:r>
              <a:rPr lang="en-US" dirty="0"/>
              <a:t>The task of controlling vehicles becomes the most difficult when  system becomes unstable.</a:t>
            </a:r>
          </a:p>
          <a:p>
            <a:endParaRPr lang="en-US" dirty="0"/>
          </a:p>
          <a:p>
            <a:r>
              <a:rPr lang="en-US" dirty="0"/>
              <a:t>The articulated vehicle may experience two types of instability in the yaw plane. The first one is a divergent instability such as</a:t>
            </a:r>
            <a:r>
              <a:rPr lang="en-US" b="1" dirty="0"/>
              <a:t> jackknifing</a:t>
            </a:r>
            <a:r>
              <a:rPr lang="en-US" dirty="0"/>
              <a:t>, in which the hitch angle increases without experiencing oscillations.</a:t>
            </a:r>
          </a:p>
          <a:p>
            <a:r>
              <a:rPr lang="en-US" dirty="0"/>
              <a:t>This occurs when, at a particular operating conditions becomes negative and the speed is above critical velocity.</a:t>
            </a:r>
          </a:p>
          <a:p>
            <a:endParaRPr lang="en-US" dirty="0"/>
          </a:p>
          <a:p>
            <a:r>
              <a:rPr lang="en-US" dirty="0"/>
              <a:t>Jackknife example: </a:t>
            </a:r>
            <a:r>
              <a:rPr lang="en-US" dirty="0">
                <a:hlinkClick r:id="rId3"/>
              </a:rPr>
              <a:t>https://www.youtube.com/watch?v=EIHrzcrB_3E</a:t>
            </a:r>
            <a:endParaRPr lang="en-US" dirty="0"/>
          </a:p>
          <a:p>
            <a:endParaRPr lang="en-US" dirty="0"/>
          </a:p>
          <a:p>
            <a:r>
              <a:rPr lang="en-US" dirty="0"/>
              <a:t>The second type is dynamics in nature and may lead to oscillatory response with increasing amplitude known as </a:t>
            </a:r>
            <a:r>
              <a:rPr lang="en-US" b="1" dirty="0"/>
              <a:t>shaking or sway.</a:t>
            </a:r>
          </a:p>
          <a:p>
            <a:endParaRPr lang="en-US" b="1" dirty="0"/>
          </a:p>
          <a:p>
            <a:r>
              <a:rPr lang="en-US" dirty="0">
                <a:hlinkClick r:id="rId4"/>
              </a:rPr>
              <a:t>https://www.youtube.com/watch?v=6mW_gzdh6to</a:t>
            </a:r>
            <a:endParaRPr lang="en-US" dirty="0"/>
          </a:p>
          <a:p>
            <a:endParaRPr lang="en-US" b="1" dirty="0"/>
          </a:p>
          <a:p>
            <a:r>
              <a:rPr lang="en-US" b="1" dirty="0"/>
              <a:t>Justification:</a:t>
            </a:r>
          </a:p>
          <a:p>
            <a:r>
              <a:rPr lang="en-US" b="0" dirty="0"/>
              <a:t> Since no direct feedback information about the trailer motion or even knowledge of trailer parameters is one of the most important issues for system intended for produ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13079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ront wheel steering angle, hitch angle and tire slip angles are assumed to be small, even tire slip angles could be considered as zero.</a:t>
            </a:r>
          </a:p>
          <a:p>
            <a:r>
              <a:rPr lang="en-US" dirty="0"/>
              <a:t>In addition, the force of aerodynamics are ignores (that’s mean considered system as flat vehicle or depreciable high)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94042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br>
              <a:rPr lang="en-US" sz="14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br>
              <a:rPr lang="en-US" sz="14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es-MX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95213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br>
              <a:rPr lang="en-US" sz="14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br>
              <a:rPr lang="en-US" sz="14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es-MX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13653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0" name="Google Shape;290;g87fdb68ab9_0_0:notes"/>
          <p:cNvSpPr txBox="1">
            <a:spLocks noGrp="1"/>
          </p:cNvSpPr>
          <p:nvPr>
            <p:ph type="body" idx="1"/>
          </p:nvPr>
        </p:nvSpPr>
        <p:spPr>
          <a:xfrm>
            <a:off x="917575" y="4714875"/>
            <a:ext cx="4962600" cy="44673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600"/>
              </a:spcAft>
              <a:buNone/>
            </a:pPr>
            <a:endParaRPr/>
          </a:p>
        </p:txBody>
      </p:sp>
      <p:sp>
        <p:nvSpPr>
          <p:cNvPr id="291" name="Google Shape;291;g87fdb68ab9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2" name="Google Shape;302;g8a65a668f9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800" cy="37227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3" name="Google Shape;303;g8a65a668f9_0_0:notes"/>
          <p:cNvSpPr txBox="1">
            <a:spLocks noGrp="1"/>
          </p:cNvSpPr>
          <p:nvPr>
            <p:ph type="body" idx="1"/>
          </p:nvPr>
        </p:nvSpPr>
        <p:spPr>
          <a:xfrm>
            <a:off x="917575" y="4714875"/>
            <a:ext cx="4962600" cy="44673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600"/>
              </a:spcAft>
              <a:buNone/>
            </a:pPr>
            <a:endParaRPr/>
          </a:p>
        </p:txBody>
      </p:sp>
      <p:sp>
        <p:nvSpPr>
          <p:cNvPr id="304" name="Google Shape;304;g8a65a668f9_0_0:notes"/>
          <p:cNvSpPr txBox="1">
            <a:spLocks noGrp="1"/>
          </p:cNvSpPr>
          <p:nvPr>
            <p:ph type="sldNum" idx="12"/>
          </p:nvPr>
        </p:nvSpPr>
        <p:spPr>
          <a:xfrm>
            <a:off x="3849688" y="9428163"/>
            <a:ext cx="2946300" cy="4968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/>
              <a:t>11</a:t>
            </a:fld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2" name="Google Shape;312;g8a65a668f9_0_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800" cy="37227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3" name="Google Shape;313;g8a65a668f9_0_14:notes"/>
          <p:cNvSpPr txBox="1">
            <a:spLocks noGrp="1"/>
          </p:cNvSpPr>
          <p:nvPr>
            <p:ph type="body" idx="1"/>
          </p:nvPr>
        </p:nvSpPr>
        <p:spPr>
          <a:xfrm>
            <a:off x="917575" y="4714875"/>
            <a:ext cx="4962600" cy="44673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600"/>
              </a:spcAft>
              <a:buNone/>
            </a:pPr>
            <a:endParaRPr/>
          </a:p>
        </p:txBody>
      </p:sp>
      <p:sp>
        <p:nvSpPr>
          <p:cNvPr id="314" name="Google Shape;314;g8a65a668f9_0_14:notes"/>
          <p:cNvSpPr txBox="1">
            <a:spLocks noGrp="1"/>
          </p:cNvSpPr>
          <p:nvPr>
            <p:ph type="sldNum" idx="12"/>
          </p:nvPr>
        </p:nvSpPr>
        <p:spPr>
          <a:xfrm>
            <a:off x="3849688" y="9428163"/>
            <a:ext cx="2946300" cy="4968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/>
              <a:t>12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35"/>
          <p:cNvSpPr/>
          <p:nvPr userDrawn="1"/>
        </p:nvSpPr>
        <p:spPr>
          <a:xfrm>
            <a:off x="179389" y="195262"/>
            <a:ext cx="8785225" cy="2736851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bIns="360000" rtlCol="0" anchor="b" anchorCtr="0"/>
          <a:lstStyle/>
          <a:p>
            <a:pPr algn="ctr"/>
            <a:r>
              <a:rPr lang="en-US" sz="1600" noProof="0" dirty="0" err="1">
                <a:solidFill>
                  <a:schemeClr val="bg1"/>
                </a:solidFill>
              </a:rPr>
              <a:t>Bit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decken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ie</a:t>
            </a:r>
            <a:r>
              <a:rPr lang="en-US" sz="1600" baseline="0" noProof="0" dirty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Fläch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mit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einem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Bild</a:t>
            </a:r>
            <a:r>
              <a:rPr lang="en-US" sz="1600" baseline="0" noProof="0" dirty="0">
                <a:solidFill>
                  <a:schemeClr val="bg1"/>
                </a:solidFill>
              </a:rPr>
              <a:t> ab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(24,4 x 7,6 cm)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111810"/>
            <a:ext cx="8172141" cy="417600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3457410"/>
            <a:ext cx="8172140" cy="842532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err="1"/>
              <a:t>Formatvorlage</a:t>
            </a:r>
            <a:r>
              <a:rPr lang="en-US" noProof="0" dirty="0"/>
              <a:t> des </a:t>
            </a:r>
            <a:r>
              <a:rPr lang="en-US" noProof="0" dirty="0" err="1"/>
              <a:t>Untertitelmasters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299942"/>
            <a:ext cx="2628590" cy="3672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dirty="0"/>
              <a:t>URL</a:t>
            </a:r>
          </a:p>
          <a:p>
            <a:pPr lvl="0"/>
            <a:endParaRPr lang="en-US" noProof="0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299942"/>
            <a:ext cx="5075797" cy="3672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4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6" name="Rechteck 15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9" y="0"/>
            <a:ext cx="2556593" cy="13104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/>
              <a:t>Das Quality Seal hat im Vordergrund zu stehen.</a:t>
            </a:r>
            <a:br>
              <a:rPr lang="en-US" noProof="0"/>
            </a:br>
            <a:r>
              <a:rPr lang="en-US" noProof="0"/>
              <a:t>Bitte ändern Sie nicht die Größe oder Position.</a:t>
            </a:r>
            <a:br>
              <a:rPr lang="en-US" noProof="0"/>
            </a:br>
            <a:r>
              <a:rPr lang="en-US" noProof="0"/>
              <a:t>The Quality Seal has to stay on top. </a:t>
            </a:r>
            <a:br>
              <a:rPr lang="en-US" noProof="0"/>
            </a:br>
            <a:r>
              <a:rPr lang="en-US" noProof="0"/>
              <a:t>Please do not change size or position.</a:t>
            </a:r>
          </a:p>
          <a:p>
            <a:pPr lvl="0"/>
            <a:endParaRPr lang="en-US" noProof="0"/>
          </a:p>
        </p:txBody>
      </p:sp>
      <p:sp>
        <p:nvSpPr>
          <p:cNvPr id="31" name="Rechteck 30"/>
          <p:cNvSpPr/>
          <p:nvPr userDrawn="1"/>
        </p:nvSpPr>
        <p:spPr>
          <a:xfrm>
            <a:off x="503548" y="-42555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 dirty="0" err="1">
                <a:solidFill>
                  <a:schemeClr val="tx1"/>
                </a:solidFill>
              </a:rPr>
              <a:t>Wenn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Sie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ein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neues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Bild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einfügen</a:t>
            </a:r>
            <a:r>
              <a:rPr lang="en-US" sz="900" noProof="0" dirty="0">
                <a:solidFill>
                  <a:schemeClr val="tx1"/>
                </a:solidFill>
              </a:rPr>
              <a:t>: </a:t>
            </a:r>
            <a:r>
              <a:rPr lang="en-US" sz="900" noProof="0" dirty="0" err="1">
                <a:solidFill>
                  <a:schemeClr val="tx1"/>
                </a:solidFill>
              </a:rPr>
              <a:t>Klicken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Sie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mit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der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rechten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Maustaste</a:t>
            </a:r>
            <a:r>
              <a:rPr lang="en-US" sz="900" noProof="0" dirty="0">
                <a:solidFill>
                  <a:schemeClr val="tx1"/>
                </a:solidFill>
              </a:rPr>
              <a:t> auf das </a:t>
            </a:r>
            <a:r>
              <a:rPr lang="en-US" sz="900" noProof="0" dirty="0" err="1">
                <a:solidFill>
                  <a:schemeClr val="tx1"/>
                </a:solidFill>
              </a:rPr>
              <a:t>Bild</a:t>
            </a:r>
            <a:r>
              <a:rPr lang="en-US" sz="900" noProof="0" dirty="0">
                <a:solidFill>
                  <a:schemeClr val="tx1"/>
                </a:solidFill>
              </a:rPr>
              <a:t> und </a:t>
            </a:r>
            <a:r>
              <a:rPr lang="en-US" sz="900" noProof="0" dirty="0" err="1">
                <a:solidFill>
                  <a:schemeClr val="tx1"/>
                </a:solidFill>
              </a:rPr>
              <a:t>wählen</a:t>
            </a:r>
            <a:r>
              <a:rPr lang="en-US" sz="900" noProof="0" dirty="0">
                <a:solidFill>
                  <a:schemeClr val="tx1"/>
                </a:solidFill>
              </a:rPr>
              <a:t> „In den </a:t>
            </a:r>
            <a:r>
              <a:rPr lang="en-US" sz="900" noProof="0" dirty="0" err="1">
                <a:solidFill>
                  <a:schemeClr val="tx1"/>
                </a:solidFill>
              </a:rPr>
              <a:t>Hintergrund</a:t>
            </a:r>
            <a:r>
              <a:rPr lang="en-US" sz="900" noProof="0" dirty="0">
                <a:solidFill>
                  <a:schemeClr val="tx1"/>
                </a:solidFill>
              </a:rPr>
              <a:t>“, um das </a:t>
            </a:r>
            <a:r>
              <a:rPr lang="en-US" sz="900" noProof="0" dirty="0" err="1">
                <a:solidFill>
                  <a:schemeClr val="tx1"/>
                </a:solidFill>
              </a:rPr>
              <a:t>Bild</a:t>
            </a:r>
            <a:r>
              <a:rPr lang="en-US" sz="900" noProof="0" dirty="0">
                <a:solidFill>
                  <a:schemeClr val="tx1"/>
                </a:solidFill>
              </a:rPr>
              <a:t> hinter das Quality Seal </a:t>
            </a:r>
            <a:r>
              <a:rPr lang="en-US" sz="900" noProof="0" dirty="0" err="1">
                <a:solidFill>
                  <a:schemeClr val="tx1"/>
                </a:solidFill>
              </a:rPr>
              <a:t>zu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bringen</a:t>
            </a:r>
            <a:r>
              <a:rPr lang="en-US" sz="900" noProof="0" dirty="0">
                <a:solidFill>
                  <a:schemeClr val="tx1"/>
                </a:solidFill>
              </a:rPr>
              <a:t>.</a:t>
            </a:r>
          </a:p>
          <a:p>
            <a:r>
              <a:rPr lang="en-US" sz="900" noProof="0" dirty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32" name="Gerade Verbindung 31"/>
          <p:cNvCxnSpPr/>
          <p:nvPr userDrawn="1"/>
        </p:nvCxnSpPr>
        <p:spPr>
          <a:xfrm>
            <a:off x="503548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 userDrawn="1"/>
        </p:nvCxnSpPr>
        <p:spPr>
          <a:xfrm>
            <a:off x="3059832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/>
          <p:nvPr userDrawn="1"/>
        </p:nvCxnSpPr>
        <p:spPr>
          <a:xfrm rot="5400000">
            <a:off x="-103432" y="124348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7788"/>
            <a:ext cx="414020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7788"/>
            <a:ext cx="4141788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4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B95F1328-8865-4437-B9B5-1B98AE42546C}" type="datetime3">
              <a:rPr lang="en-US" noProof="0" smtClean="0"/>
              <a:pPr/>
              <a:t>17 June 2020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7788"/>
            <a:ext cx="414020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B9F64C55-3C07-4FCB-9F06-CA7928BDD2EB}" type="datetime3">
              <a:rPr lang="en-US" noProof="0" smtClean="0"/>
              <a:pPr/>
              <a:t>17 June 2020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347788"/>
            <a:ext cx="2736850" cy="28082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03575" y="1347788"/>
            <a:ext cx="273685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11863" y="1347788"/>
            <a:ext cx="273685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144BB05-B6BD-4EAF-8D90-F01B136B4D17}" type="datetime3">
              <a:rPr lang="en-US" noProof="0" smtClean="0"/>
              <a:pPr/>
              <a:t>17 June 2020</a:t>
            </a:fld>
            <a:endParaRPr lang="en-US" noProof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7788"/>
            <a:ext cx="4140200" cy="13858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7" y="1347788"/>
            <a:ext cx="4141787" cy="13858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BDE66952-8BA7-4545-9894-562BD7F5549F}" type="datetime3">
              <a:rPr lang="en-US" noProof="0" smtClean="0"/>
              <a:pPr/>
              <a:t>17 June 2020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395289" y="2787650"/>
            <a:ext cx="4140199" cy="13684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4606926" y="2787650"/>
            <a:ext cx="4141788" cy="13684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</p:spTree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27E051F-9C00-4D71-9B67-0FF240BFCC4F}" type="datetime3">
              <a:rPr lang="en-US" noProof="0" smtClean="0"/>
              <a:pPr/>
              <a:t>17 June 2020</a:t>
            </a:fld>
            <a:endParaRPr lang="en-US" noProof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B9D1A53-3D50-465D-BEE6-D62CB4527C46}" type="datetime3">
              <a:rPr lang="en-US" noProof="0" smtClean="0"/>
              <a:pPr/>
              <a:t>17 June 2020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4"/>
          <p:cNvSpPr/>
          <p:nvPr userDrawn="1"/>
        </p:nvSpPr>
        <p:spPr>
          <a:xfrm>
            <a:off x="7560332" y="296862"/>
            <a:ext cx="1332272" cy="575854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257200"/>
            <a:ext cx="8353425" cy="189887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580400"/>
            <a:ext cx="8353425" cy="720000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4EADE39-D176-4F20-980F-C8D999BF5D0B}" type="datetime3">
              <a:rPr lang="en-US" noProof="0" smtClean="0"/>
              <a:pPr/>
              <a:t>17 June 2020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22" name="Bi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4381647"/>
            <a:ext cx="1857600" cy="57054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5" name="Gerade Verbindung 24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257200"/>
            <a:ext cx="8353425" cy="189887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580400"/>
            <a:ext cx="8353425" cy="720000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CAE601-AA0A-4E2D-A23A-B8A0B5331932}" type="datetime3">
              <a:rPr lang="en-US" noProof="0" smtClean="0"/>
              <a:pPr/>
              <a:t>17 June 2020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4"/>
          <p:cNvSpPr/>
          <p:nvPr userDrawn="1"/>
        </p:nvSpPr>
        <p:spPr>
          <a:xfrm>
            <a:off x="7560332" y="296862"/>
            <a:ext cx="1332272" cy="575854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257200"/>
            <a:ext cx="8353425" cy="189887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580400"/>
            <a:ext cx="8353425" cy="720000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A8F701C-372F-4C4A-8037-9EE90099ED8D}" type="datetime3">
              <a:rPr lang="en-US" noProof="0" smtClean="0"/>
              <a:pPr/>
              <a:t>17 June 2020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59765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3" name="Gerade Verbindung 22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1A14F1-A98B-4B01-AB5C-4EDA8538C6C0}" type="datetime3">
              <a:rPr lang="en-US" noProof="0" smtClean="0"/>
              <a:pPr/>
              <a:t>17 June 2020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2427585"/>
            <a:ext cx="8172140" cy="417600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2773185"/>
            <a:ext cx="8172140" cy="878685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err="1"/>
              <a:t>Formatvorlage</a:t>
            </a:r>
            <a:r>
              <a:rPr lang="en-US" noProof="0" dirty="0"/>
              <a:t> des </a:t>
            </a:r>
            <a:r>
              <a:rPr lang="en-US" noProof="0" dirty="0" err="1"/>
              <a:t>Untertitelmasters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299942"/>
            <a:ext cx="2628590" cy="3672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299942"/>
            <a:ext cx="5075797" cy="3672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4" name="Gruppieren 16"/>
          <p:cNvGrpSpPr/>
          <p:nvPr userDrawn="1"/>
        </p:nvGrpSpPr>
        <p:grpSpPr>
          <a:xfrm>
            <a:off x="0" y="-1"/>
            <a:ext cx="9144000" cy="5143502"/>
            <a:chOff x="0" y="-1"/>
            <a:chExt cx="9144000" cy="6858002"/>
          </a:xfrm>
        </p:grpSpPr>
        <p:grpSp>
          <p:nvGrpSpPr>
            <p:cNvPr id="5" name="Gruppieren 15"/>
            <p:cNvGrpSpPr/>
            <p:nvPr userDrawn="1"/>
          </p:nvGrpSpPr>
          <p:grpSpPr>
            <a:xfrm>
              <a:off x="0" y="0"/>
              <a:ext cx="9144000" cy="6858001"/>
              <a:chOff x="0" y="0"/>
              <a:chExt cx="9144000" cy="6858001"/>
            </a:xfrm>
          </p:grpSpPr>
          <p:sp>
            <p:nvSpPr>
              <p:cNvPr id="9" name="Rechteck 8"/>
              <p:cNvSpPr/>
              <p:nvPr userDrawn="1"/>
            </p:nvSpPr>
            <p:spPr>
              <a:xfrm>
                <a:off x="0" y="0"/>
                <a:ext cx="9144000" cy="260351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2" name="Rechteck 11"/>
              <p:cNvSpPr/>
              <p:nvPr userDrawn="1"/>
            </p:nvSpPr>
            <p:spPr>
              <a:xfrm>
                <a:off x="0" y="6597652"/>
                <a:ext cx="9144000" cy="26034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3" name="Rechteck 12"/>
              <p:cNvSpPr/>
              <p:nvPr userDrawn="1"/>
            </p:nvSpPr>
            <p:spPr>
              <a:xfrm>
                <a:off x="0" y="0"/>
                <a:ext cx="179388" cy="685799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5" name="Rechteck 14"/>
              <p:cNvSpPr/>
              <p:nvPr userDrawn="1"/>
            </p:nvSpPr>
            <p:spPr>
              <a:xfrm>
                <a:off x="8964612" y="0"/>
                <a:ext cx="179387" cy="685799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</p:grpSp>
        <p:pic>
          <p:nvPicPr>
            <p:cNvPr id="14" name="Grafik 13"/>
            <p:cNvPicPr>
              <a:picLocks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3238" y="-1"/>
              <a:ext cx="2555876" cy="1748368"/>
            </a:xfrm>
            <a:prstGeom prst="rect">
              <a:avLst/>
            </a:prstGeom>
          </p:spPr>
        </p:pic>
      </p:grp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35"/>
          <p:cNvSpPr/>
          <p:nvPr userDrawn="1"/>
        </p:nvSpPr>
        <p:spPr>
          <a:xfrm>
            <a:off x="179389" y="195263"/>
            <a:ext cx="8785225" cy="4752975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dirty="0" err="1">
                <a:solidFill>
                  <a:schemeClr val="bg1"/>
                </a:solidFill>
              </a:rPr>
              <a:t>Bit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decken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ie</a:t>
            </a:r>
            <a:r>
              <a:rPr lang="en-US" sz="1600" baseline="0" noProof="0" dirty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Fläch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mit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einem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Bild</a:t>
            </a:r>
            <a:r>
              <a:rPr lang="en-US" sz="1600" baseline="0" noProof="0" dirty="0">
                <a:solidFill>
                  <a:schemeClr val="bg1"/>
                </a:solidFill>
              </a:rPr>
              <a:t> ab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(24,4 x 13,2 cm)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110400"/>
            <a:ext cx="8172141" cy="417600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3456000"/>
            <a:ext cx="8172140" cy="843942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err="1"/>
              <a:t>Formatvorlage</a:t>
            </a:r>
            <a:r>
              <a:rPr lang="en-US" noProof="0" dirty="0"/>
              <a:t> des </a:t>
            </a:r>
            <a:r>
              <a:rPr lang="en-US" noProof="0" dirty="0" err="1"/>
              <a:t>Untertitelmasters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299942"/>
            <a:ext cx="2628590" cy="3672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299942"/>
            <a:ext cx="5075797" cy="3672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4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6" name="Rechteck 15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9" y="1"/>
            <a:ext cx="2555875" cy="1311274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/>
              <a:t>Das Quality Seal hat im Vordergrund zu stehen.</a:t>
            </a:r>
            <a:br>
              <a:rPr lang="en-US" noProof="0"/>
            </a:br>
            <a:r>
              <a:rPr lang="en-US" noProof="0"/>
              <a:t>Bitte ändern Sie nicht die Größe oder Position.</a:t>
            </a:r>
            <a:br>
              <a:rPr lang="en-US" noProof="0"/>
            </a:br>
            <a:r>
              <a:rPr lang="en-US" noProof="0"/>
              <a:t>The Quality Seal has to stay on top. </a:t>
            </a:r>
            <a:br>
              <a:rPr lang="en-US" noProof="0"/>
            </a:br>
            <a:r>
              <a:rPr lang="en-US" noProof="0"/>
              <a:t>Please do not change size or position.</a:t>
            </a:r>
          </a:p>
          <a:p>
            <a:pPr lvl="0"/>
            <a:endParaRPr lang="en-US" noProof="0"/>
          </a:p>
        </p:txBody>
      </p:sp>
      <p:sp>
        <p:nvSpPr>
          <p:cNvPr id="31" name="Rechteck 30"/>
          <p:cNvSpPr/>
          <p:nvPr userDrawn="1"/>
        </p:nvSpPr>
        <p:spPr>
          <a:xfrm>
            <a:off x="503548" y="-425553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32" name="Gerade Verbindung 31"/>
          <p:cNvCxnSpPr/>
          <p:nvPr userDrawn="1"/>
        </p:nvCxnSpPr>
        <p:spPr>
          <a:xfrm>
            <a:off x="503548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 userDrawn="1"/>
        </p:nvCxnSpPr>
        <p:spPr>
          <a:xfrm>
            <a:off x="3059832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>
          <a:xfrm rot="5400000">
            <a:off x="-103432" y="124348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7560332" y="296862"/>
            <a:ext cx="1332272" cy="575854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A0CE834-690D-4F26-8C93-130BA36FD7C0}" type="datetime3">
              <a:rPr lang="en-US" noProof="0" smtClean="0"/>
              <a:pPr/>
              <a:t>17 June 2020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4" name="Gerade Verbindung 23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Bi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4381647"/>
            <a:ext cx="1857600" cy="57054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2400"/>
            <a:ext cx="8353425" cy="72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7223074-4D72-465E-909D-7D1DBB514C91}" type="datetime3">
              <a:rPr lang="en-US" noProof="0" smtClean="0"/>
              <a:pPr/>
              <a:t>17 June 2020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4"/>
          <p:cNvSpPr/>
          <p:nvPr userDrawn="1"/>
        </p:nvSpPr>
        <p:spPr>
          <a:xfrm>
            <a:off x="7560332" y="296862"/>
            <a:ext cx="1332272" cy="575854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F0A75B6-8E1B-4380-84B9-49631E7ED158}" type="datetime3">
              <a:rPr lang="en-US" noProof="0" smtClean="0"/>
              <a:pPr/>
              <a:t>17 June 2020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2" name="Gerade Verbindung 21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1368425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45A1C77-F3AB-418B-BB96-BF86CA98ED28}" type="datetime3">
              <a:rPr lang="en-US" noProof="0" smtClean="0"/>
              <a:pPr/>
              <a:t>17 June 2020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787650"/>
            <a:ext cx="8353425" cy="1368426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D1B2569-E16F-4FFF-9EC5-29BC0236DFAB}" type="datetime3">
              <a:rPr lang="en-US" noProof="0" smtClean="0"/>
              <a:pPr/>
              <a:t>17 June 2020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LOGOPLACEHOLDER" hidden="1"/>
          <p:cNvSpPr/>
          <p:nvPr userDrawn="1"/>
        </p:nvSpPr>
        <p:spPr>
          <a:xfrm>
            <a:off x="7727949" y="381360"/>
            <a:ext cx="1020763" cy="418740"/>
          </a:xfrm>
          <a:prstGeom prst="rect">
            <a:avLst/>
          </a:prstGeom>
          <a:solidFill>
            <a:srgbClr val="FFFFFF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800" noProof="0" dirty="0">
              <a:solidFill>
                <a:srgbClr val="00B0F0"/>
              </a:solidFill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1520" y="4381646"/>
            <a:ext cx="1857600" cy="57054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6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9" y="1342800"/>
            <a:ext cx="8353425" cy="2813275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5" y="4551970"/>
            <a:ext cx="2001935" cy="11283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446C7CFE-FDAE-4A50-A309-ACAE703BAE6B}" type="datetime3">
              <a:rPr lang="en-US" noProof="0" smtClean="0"/>
              <a:pPr/>
              <a:t>17 June 2020</a:t>
            </a:fld>
            <a:endParaRPr lang="en-US" noProof="0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6" y="4665239"/>
            <a:ext cx="2001935" cy="11283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5" y="4665239"/>
            <a:ext cx="360289" cy="11283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1" name="Text Box 23"/>
          <p:cNvSpPr txBox="1">
            <a:spLocks noChangeArrowheads="1"/>
          </p:cNvSpPr>
          <p:nvPr userDrawn="1">
            <p:custDataLst>
              <p:tags r:id="rId20"/>
            </p:custDataLst>
          </p:nvPr>
        </p:nvSpPr>
        <p:spPr bwMode="auto">
          <a:xfrm>
            <a:off x="3501407" y="4665239"/>
            <a:ext cx="2726779" cy="96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>
                <a:solidFill>
                  <a:schemeClr val="tx1"/>
                </a:solidFill>
                <a:latin typeface="+mn-lt"/>
              </a:rPr>
              <a:t>Public</a:t>
            </a:r>
          </a:p>
        </p:txBody>
      </p:sp>
      <p:sp>
        <p:nvSpPr>
          <p:cNvPr id="12" name="Text Box 23"/>
          <p:cNvSpPr txBox="1">
            <a:spLocks noChangeArrowheads="1"/>
          </p:cNvSpPr>
          <p:nvPr userDrawn="1">
            <p:custDataLst>
              <p:tags r:id="rId21"/>
            </p:custDataLst>
          </p:nvPr>
        </p:nvSpPr>
        <p:spPr bwMode="auto">
          <a:xfrm>
            <a:off x="3501407" y="4561587"/>
            <a:ext cx="2726778" cy="103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>
                <a:solidFill>
                  <a:schemeClr val="tx1"/>
                </a:solidFill>
                <a:latin typeface="+mn-lt"/>
              </a:rPr>
              <a:t>Space for Sender Information</a:t>
            </a:r>
          </a:p>
        </p:txBody>
      </p:sp>
      <p:sp>
        <p:nvSpPr>
          <p:cNvPr id="4" name="empower - DO NOT DELETE!!!"/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empower - DO NOT DELETE!!!" hidden="1"/>
          <p:cNvSpPr/>
          <p:nvPr userDrawn="1">
            <p:custDataLst>
              <p:tags r:id="rId23"/>
            </p:custDataLst>
          </p:nvPr>
        </p:nvSpPr>
        <p:spPr>
          <a:xfrm>
            <a:off x="-63500" y="-635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</p:sldLayoutIdLst>
  <p:transition>
    <p:fade/>
  </p:transition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3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2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5" Type="http://schemas.openxmlformats.org/officeDocument/2006/relationships/image" Target="../media/image1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Relationship Id="rId1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0.png"/><Relationship Id="rId13" Type="http://schemas.openxmlformats.org/officeDocument/2006/relationships/image" Target="../media/image160.png"/><Relationship Id="rId3" Type="http://schemas.openxmlformats.org/officeDocument/2006/relationships/image" Target="../media/image60.png"/><Relationship Id="rId7" Type="http://schemas.openxmlformats.org/officeDocument/2006/relationships/image" Target="../media/image100.png"/><Relationship Id="rId12" Type="http://schemas.openxmlformats.org/officeDocument/2006/relationships/image" Target="../media/image150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19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0.png"/><Relationship Id="rId11" Type="http://schemas.openxmlformats.org/officeDocument/2006/relationships/image" Target="../media/image140.png"/><Relationship Id="rId5" Type="http://schemas.openxmlformats.org/officeDocument/2006/relationships/image" Target="../media/image80.png"/><Relationship Id="rId15" Type="http://schemas.openxmlformats.org/officeDocument/2006/relationships/image" Target="../media/image180.png"/><Relationship Id="rId10" Type="http://schemas.openxmlformats.org/officeDocument/2006/relationships/image" Target="../media/image130.png"/><Relationship Id="rId4" Type="http://schemas.openxmlformats.org/officeDocument/2006/relationships/image" Target="../media/image70.png"/><Relationship Id="rId9" Type="http://schemas.openxmlformats.org/officeDocument/2006/relationships/image" Target="../media/image120.png"/><Relationship Id="rId14" Type="http://schemas.openxmlformats.org/officeDocument/2006/relationships/image" Target="../media/image17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2019 Land Rover Discovery Sport Towing Capacity | Land Rover ...">
            <a:extLst>
              <a:ext uri="{FF2B5EF4-FFF2-40B4-BE49-F238E27FC236}">
                <a16:creationId xmlns:a16="http://schemas.microsoft.com/office/drawing/2014/main" id="{33E17297-1B8C-4A91-A91C-F34E2592B8B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71" t="16115" r="-1" b="5587"/>
          <a:stretch/>
        </p:blipFill>
        <p:spPr bwMode="auto">
          <a:xfrm>
            <a:off x="154140" y="195263"/>
            <a:ext cx="8810473" cy="2751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Lateral Control Passenger Cars with Trailer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Analytical model of vehicle-trailer combina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ADA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0423510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Google Shape;293;p24"/>
          <p:cNvSpPr txBox="1">
            <a:spLocks noGrp="1"/>
          </p:cNvSpPr>
          <p:nvPr>
            <p:ph type="dt" idx="10"/>
          </p:nvPr>
        </p:nvSpPr>
        <p:spPr>
          <a:xfrm>
            <a:off x="6350485" y="4551970"/>
            <a:ext cx="2001900" cy="1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26 May 2020</a:t>
            </a:r>
            <a:endParaRPr/>
          </a:p>
        </p:txBody>
      </p:sp>
      <p:sp>
        <p:nvSpPr>
          <p:cNvPr id="294" name="Google Shape;294;p24"/>
          <p:cNvSpPr txBox="1">
            <a:spLocks noGrp="1"/>
          </p:cNvSpPr>
          <p:nvPr>
            <p:ph type="sldNum" idx="12"/>
          </p:nvPr>
        </p:nvSpPr>
        <p:spPr>
          <a:xfrm>
            <a:off x="8388425" y="4665239"/>
            <a:ext cx="360300" cy="1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0</a:t>
            </a:fld>
            <a:endParaRPr/>
          </a:p>
        </p:txBody>
      </p:sp>
      <p:sp>
        <p:nvSpPr>
          <p:cNvPr id="295" name="Google Shape;295;p24"/>
          <p:cNvSpPr txBox="1">
            <a:spLocks noGrp="1"/>
          </p:cNvSpPr>
          <p:nvPr>
            <p:ph type="ftr" idx="11"/>
          </p:nvPr>
        </p:nvSpPr>
        <p:spPr>
          <a:xfrm>
            <a:off x="6350486" y="4665239"/>
            <a:ext cx="2001900" cy="1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Author, © Continental AG</a:t>
            </a:r>
            <a:endParaRPr/>
          </a:p>
        </p:txBody>
      </p:sp>
      <p:sp>
        <p:nvSpPr>
          <p:cNvPr id="296" name="Google Shape;296;p24"/>
          <p:cNvSpPr txBox="1">
            <a:spLocks noGrp="1"/>
          </p:cNvSpPr>
          <p:nvPr>
            <p:ph type="title"/>
          </p:nvPr>
        </p:nvSpPr>
        <p:spPr>
          <a:xfrm>
            <a:off x="395289" y="303213"/>
            <a:ext cx="8353500" cy="72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25200" rIns="91425" bIns="0" anchor="t" anchorCtr="0">
            <a:noAutofit/>
          </a:bodyPr>
          <a:lstStyle/>
          <a:p>
            <a:pPr marL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Arial"/>
              <a:buNone/>
            </a:pPr>
            <a:r>
              <a:rPr lang="en-US"/>
              <a:t>System of linear equations to the vehicle-trailer combination</a:t>
            </a:r>
            <a:endParaRPr/>
          </a:p>
        </p:txBody>
      </p:sp>
      <p:sp>
        <p:nvSpPr>
          <p:cNvPr id="297" name="Google Shape;297;p24"/>
          <p:cNvSpPr txBox="1">
            <a:spLocks noGrp="1"/>
          </p:cNvSpPr>
          <p:nvPr>
            <p:ph type="body" idx="1"/>
          </p:nvPr>
        </p:nvSpPr>
        <p:spPr>
          <a:xfrm>
            <a:off x="395300" y="962025"/>
            <a:ext cx="8353500" cy="319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8000" rIns="0" bIns="18000" anchor="t" anchorCtr="0">
            <a:noAutofit/>
          </a:bodyPr>
          <a:lstStyle/>
          <a:p>
            <a:pPr marL="177800" lvl="0" indent="-177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/>
              <a:buChar char="›"/>
            </a:pPr>
            <a:r>
              <a:rPr lang="en-US"/>
              <a:t>The system written in a matrix form is:</a:t>
            </a:r>
            <a:endParaRPr/>
          </a:p>
          <a:p>
            <a:pPr marL="177800" lvl="0" indent="-177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Char char="›"/>
            </a:pPr>
            <a:br>
              <a:rPr lang="en-US"/>
            </a:br>
            <a:br>
              <a:rPr lang="en-US"/>
            </a:br>
            <a:endParaRPr/>
          </a:p>
          <a:p>
            <a:pPr marL="177800" lvl="0" indent="-177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Char char="›"/>
            </a:pPr>
            <a:r>
              <a:rPr lang="en-US"/>
              <a:t>Matrices </a:t>
            </a:r>
            <a:r>
              <a:rPr lang="en-US" b="1"/>
              <a:t>M, E </a:t>
            </a:r>
            <a:r>
              <a:rPr lang="en-US"/>
              <a:t>y</a:t>
            </a:r>
            <a:r>
              <a:rPr lang="en-US" b="1"/>
              <a:t> F </a:t>
            </a:r>
            <a:r>
              <a:rPr lang="en-US"/>
              <a:t>are constant  </a:t>
            </a:r>
            <a:br>
              <a:rPr lang="en-US"/>
            </a:br>
            <a:endParaRPr/>
          </a:p>
          <a:p>
            <a:pPr marL="177800" lvl="0" indent="-177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Char char="›"/>
            </a:pPr>
            <a:endParaRPr/>
          </a:p>
        </p:txBody>
      </p:sp>
      <p:pic>
        <p:nvPicPr>
          <p:cNvPr id="298" name="Google Shape;298;p2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82529" y="1265538"/>
            <a:ext cx="2143125" cy="361950"/>
          </a:xfrm>
          <a:prstGeom prst="rect">
            <a:avLst/>
          </a:prstGeom>
          <a:noFill/>
          <a:ln>
            <a:noFill/>
          </a:ln>
        </p:spPr>
      </p:pic>
      <p:pic>
        <p:nvPicPr>
          <p:cNvPr id="299" name="Google Shape;299;p24"/>
          <p:cNvPicPr preferRelativeResize="0"/>
          <p:nvPr/>
        </p:nvPicPr>
        <p:blipFill rotWithShape="1">
          <a:blip r:embed="rId4">
            <a:alphaModFix/>
          </a:blip>
          <a:srcRect r="8022"/>
          <a:stretch/>
        </p:blipFill>
        <p:spPr>
          <a:xfrm>
            <a:off x="78494" y="2505075"/>
            <a:ext cx="4853546" cy="1352550"/>
          </a:xfrm>
          <a:prstGeom prst="rect">
            <a:avLst/>
          </a:prstGeom>
          <a:noFill/>
          <a:ln>
            <a:noFill/>
          </a:ln>
        </p:spPr>
      </p:pic>
      <p:pic>
        <p:nvPicPr>
          <p:cNvPr id="300" name="Google Shape;300;p24"/>
          <p:cNvPicPr preferRelativeResize="0"/>
          <p:nvPr/>
        </p:nvPicPr>
        <p:blipFill rotWithShape="1">
          <a:blip r:embed="rId5">
            <a:alphaModFix/>
          </a:blip>
          <a:srcRect r="2437"/>
          <a:stretch/>
        </p:blipFill>
        <p:spPr>
          <a:xfrm>
            <a:off x="4805921" y="2480423"/>
            <a:ext cx="4302583" cy="13811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6" name="Google Shape;306;p25"/>
          <p:cNvSpPr txBox="1">
            <a:spLocks noGrp="1"/>
          </p:cNvSpPr>
          <p:nvPr>
            <p:ph type="body" idx="1"/>
          </p:nvPr>
        </p:nvSpPr>
        <p:spPr>
          <a:xfrm>
            <a:off x="395300" y="303229"/>
            <a:ext cx="8353500" cy="3852900"/>
          </a:xfrm>
          <a:prstGeom prst="rect">
            <a:avLst/>
          </a:prstGeom>
        </p:spPr>
        <p:txBody>
          <a:bodyPr spcFirstLastPara="1" wrap="square" lIns="0" tIns="18000" rIns="0" bIns="180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Matrix </a:t>
            </a:r>
            <a:r>
              <a:rPr lang="en-US" b="1"/>
              <a:t>D </a:t>
            </a:r>
            <a:r>
              <a:rPr lang="en-US"/>
              <a:t>is a function of the vehicle speed</a:t>
            </a:r>
            <a:endParaRPr/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en-US"/>
              <a:t>The state vector, </a:t>
            </a:r>
            <a:r>
              <a:rPr lang="en-US" b="1"/>
              <a:t>x</a:t>
            </a:r>
            <a:r>
              <a:rPr lang="en-US"/>
              <a:t>, and the control input, </a:t>
            </a:r>
            <a:r>
              <a:rPr lang="en-US" i="1"/>
              <a:t>u</a:t>
            </a:r>
            <a:r>
              <a:rPr lang="en-US"/>
              <a:t>, are given by</a:t>
            </a:r>
            <a:endParaRPr/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/>
              <a:t>, </a:t>
            </a:r>
            <a:endParaRPr/>
          </a:p>
        </p:txBody>
      </p:sp>
      <p:sp>
        <p:nvSpPr>
          <p:cNvPr id="307" name="Google Shape;307;p25"/>
          <p:cNvSpPr txBox="1">
            <a:spLocks noGrp="1"/>
          </p:cNvSpPr>
          <p:nvPr>
            <p:ph type="sldNum" idx="12"/>
          </p:nvPr>
        </p:nvSpPr>
        <p:spPr>
          <a:xfrm>
            <a:off x="8388425" y="4665239"/>
            <a:ext cx="360300" cy="112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/>
              <a:t>11</a:t>
            </a:fld>
            <a:endParaRPr/>
          </a:p>
        </p:txBody>
      </p:sp>
      <p:pic>
        <p:nvPicPr>
          <p:cNvPr id="308" name="Google Shape;308;p2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267200" y="332594"/>
            <a:ext cx="171450" cy="257175"/>
          </a:xfrm>
          <a:prstGeom prst="rect">
            <a:avLst/>
          </a:prstGeom>
          <a:noFill/>
          <a:ln>
            <a:noFill/>
          </a:ln>
        </p:spPr>
      </p:pic>
      <p:pic>
        <p:nvPicPr>
          <p:cNvPr id="309" name="Google Shape;309;p25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509588" y="714375"/>
            <a:ext cx="8429625" cy="2343150"/>
          </a:xfrm>
          <a:prstGeom prst="rect">
            <a:avLst/>
          </a:prstGeom>
          <a:noFill/>
          <a:ln>
            <a:noFill/>
          </a:ln>
        </p:spPr>
      </p:pic>
      <p:pic>
        <p:nvPicPr>
          <p:cNvPr id="310" name="Google Shape;310;p25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762000" y="3470329"/>
            <a:ext cx="3371850" cy="4857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Google Shape;316;p26"/>
          <p:cNvSpPr txBox="1">
            <a:spLocks noGrp="1"/>
          </p:cNvSpPr>
          <p:nvPr>
            <p:ph type="body" idx="1"/>
          </p:nvPr>
        </p:nvSpPr>
        <p:spPr>
          <a:xfrm>
            <a:off x="395300" y="303230"/>
            <a:ext cx="8353500" cy="3852900"/>
          </a:xfrm>
          <a:prstGeom prst="rect">
            <a:avLst/>
          </a:prstGeom>
        </p:spPr>
        <p:txBody>
          <a:bodyPr spcFirstLastPara="1" wrap="square" lIns="0" tIns="18000" rIns="0" bIns="180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By pre-multiplying system of linear equations on both sides by     , the state equation is obtained </a:t>
            </a:r>
            <a:endParaRPr/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en-US"/>
              <a:t>Where</a:t>
            </a:r>
            <a:endParaRPr/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br>
              <a:rPr lang="en-US"/>
            </a:br>
            <a:endParaRPr/>
          </a:p>
          <a:p>
            <a:pPr marL="0" lvl="0" indent="0" algn="l" rtl="0">
              <a:spcBef>
                <a:spcPts val="1200"/>
              </a:spcBef>
              <a:spcAft>
                <a:spcPts val="1200"/>
              </a:spcAft>
              <a:buNone/>
            </a:pPr>
            <a:endParaRPr/>
          </a:p>
        </p:txBody>
      </p:sp>
      <p:sp>
        <p:nvSpPr>
          <p:cNvPr id="317" name="Google Shape;317;p26"/>
          <p:cNvSpPr txBox="1">
            <a:spLocks noGrp="1"/>
          </p:cNvSpPr>
          <p:nvPr>
            <p:ph type="sldNum" idx="12"/>
          </p:nvPr>
        </p:nvSpPr>
        <p:spPr>
          <a:xfrm>
            <a:off x="8388425" y="4665239"/>
            <a:ext cx="360300" cy="112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/>
              <a:t>12</a:t>
            </a:fld>
            <a:endParaRPr/>
          </a:p>
        </p:txBody>
      </p:sp>
      <p:pic>
        <p:nvPicPr>
          <p:cNvPr id="318" name="Google Shape;318;p26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019800" y="346130"/>
            <a:ext cx="276225" cy="228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19" name="Google Shape;319;p26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457200" y="879530"/>
            <a:ext cx="1952625" cy="257175"/>
          </a:xfrm>
          <a:prstGeom prst="rect">
            <a:avLst/>
          </a:prstGeom>
          <a:noFill/>
          <a:ln>
            <a:noFill/>
          </a:ln>
        </p:spPr>
      </p:pic>
      <p:pic>
        <p:nvPicPr>
          <p:cNvPr id="320" name="Google Shape;320;p26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533400" y="1641530"/>
            <a:ext cx="4124325" cy="3714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Arc 94">
            <a:extLst>
              <a:ext uri="{FF2B5EF4-FFF2-40B4-BE49-F238E27FC236}">
                <a16:creationId xmlns:a16="http://schemas.microsoft.com/office/drawing/2014/main" id="{48595C41-C535-4B6F-A75B-2D3DD9A74425}"/>
              </a:ext>
            </a:extLst>
          </p:cNvPr>
          <p:cNvSpPr/>
          <p:nvPr/>
        </p:nvSpPr>
        <p:spPr>
          <a:xfrm flipH="1">
            <a:off x="3247553" y="2678333"/>
            <a:ext cx="75113" cy="102922"/>
          </a:xfrm>
          <a:prstGeom prst="arc">
            <a:avLst>
              <a:gd name="adj1" fmla="val 16200000"/>
              <a:gd name="adj2" fmla="val 4436574"/>
            </a:avLst>
          </a:prstGeom>
          <a:ln w="95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37B5143-E8BA-427E-8138-1E615F66D92A}"/>
              </a:ext>
            </a:extLst>
          </p:cNvPr>
          <p:cNvCxnSpPr>
            <a:cxnSpLocks/>
          </p:cNvCxnSpPr>
          <p:nvPr/>
        </p:nvCxnSpPr>
        <p:spPr>
          <a:xfrm flipV="1">
            <a:off x="6618843" y="2581676"/>
            <a:ext cx="786188" cy="26363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6704591F-8EC5-4D0C-9E0C-BC5AE963C1FB}"/>
              </a:ext>
            </a:extLst>
          </p:cNvPr>
          <p:cNvCxnSpPr>
            <a:stCxn id="35" idx="7"/>
          </p:cNvCxnSpPr>
          <p:nvPr/>
        </p:nvCxnSpPr>
        <p:spPr>
          <a:xfrm flipV="1">
            <a:off x="6593709" y="2283718"/>
            <a:ext cx="792628" cy="312562"/>
          </a:xfrm>
          <a:prstGeom prst="straightConnector1">
            <a:avLst/>
          </a:prstGeom>
          <a:ln w="952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F921504A-E8CD-407F-8826-7C2EAA6BBA17}"/>
                  </a:ext>
                </a:extLst>
              </p:cNvPr>
              <p:cNvSpPr txBox="1"/>
              <p:nvPr/>
            </p:nvSpPr>
            <p:spPr>
              <a:xfrm>
                <a:off x="7058428" y="2342928"/>
                <a:ext cx="303993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1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𝛿</m:t>
                      </m:r>
                    </m:oMath>
                  </m:oMathPara>
                </a14:m>
                <a:endParaRPr lang="en-US" sz="1100" dirty="0"/>
              </a:p>
            </p:txBody>
          </p:sp>
        </mc:Choice>
        <mc:Fallback xmlns=""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F921504A-E8CD-407F-8826-7C2EAA6BBA1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58428" y="2342928"/>
                <a:ext cx="303993" cy="26161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C189C2B3-51FB-45CB-A5E0-0E8F4801DCE2}"/>
              </a:ext>
            </a:extLst>
          </p:cNvPr>
          <p:cNvCxnSpPr>
            <a:cxnSpLocks/>
            <a:stCxn id="41" idx="4"/>
          </p:cNvCxnSpPr>
          <p:nvPr/>
        </p:nvCxnSpPr>
        <p:spPr>
          <a:xfrm>
            <a:off x="5146502" y="2748554"/>
            <a:ext cx="0" cy="736031"/>
          </a:xfrm>
          <a:prstGeom prst="line">
            <a:avLst/>
          </a:prstGeom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19D0D95E-0C20-4C8D-BCA5-FF791B93CAFF}"/>
              </a:ext>
            </a:extLst>
          </p:cNvPr>
          <p:cNvCxnSpPr>
            <a:cxnSpLocks/>
          </p:cNvCxnSpPr>
          <p:nvPr/>
        </p:nvCxnSpPr>
        <p:spPr>
          <a:xfrm>
            <a:off x="3887394" y="2067694"/>
            <a:ext cx="0" cy="1011843"/>
          </a:xfrm>
          <a:prstGeom prst="line">
            <a:avLst/>
          </a:prstGeom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A4441A74-0D83-4A2E-AA4C-0062EB28F181}"/>
              </a:ext>
            </a:extLst>
          </p:cNvPr>
          <p:cNvCxnSpPr>
            <a:cxnSpLocks/>
          </p:cNvCxnSpPr>
          <p:nvPr/>
        </p:nvCxnSpPr>
        <p:spPr>
          <a:xfrm>
            <a:off x="3417338" y="2752285"/>
            <a:ext cx="0" cy="732300"/>
          </a:xfrm>
          <a:prstGeom prst="line">
            <a:avLst/>
          </a:prstGeom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E74080BF-9FB5-4F09-9E8F-36C4E8FDA0C3}"/>
              </a:ext>
            </a:extLst>
          </p:cNvPr>
          <p:cNvCxnSpPr>
            <a:cxnSpLocks/>
          </p:cNvCxnSpPr>
          <p:nvPr/>
        </p:nvCxnSpPr>
        <p:spPr>
          <a:xfrm>
            <a:off x="6444208" y="2067694"/>
            <a:ext cx="0" cy="1011843"/>
          </a:xfrm>
          <a:prstGeom prst="line">
            <a:avLst/>
          </a:prstGeom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39A359B4-7A47-4217-BEAE-8DA6CD8964BD}"/>
              </a:ext>
            </a:extLst>
          </p:cNvPr>
          <p:cNvCxnSpPr>
            <a:cxnSpLocks/>
          </p:cNvCxnSpPr>
          <p:nvPr/>
        </p:nvCxnSpPr>
        <p:spPr>
          <a:xfrm>
            <a:off x="3887394" y="3059927"/>
            <a:ext cx="1259108" cy="0"/>
          </a:xfrm>
          <a:prstGeom prst="straightConnector1">
            <a:avLst/>
          </a:prstGeom>
          <a:ln w="9525">
            <a:solidFill>
              <a:schemeClr val="bg1">
                <a:lumMod val="6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8BAAE6FA-7D35-4B5D-B68B-7511FE0717C3}"/>
              </a:ext>
            </a:extLst>
          </p:cNvPr>
          <p:cNvCxnSpPr>
            <a:cxnSpLocks/>
          </p:cNvCxnSpPr>
          <p:nvPr/>
        </p:nvCxnSpPr>
        <p:spPr>
          <a:xfrm>
            <a:off x="5146502" y="3059927"/>
            <a:ext cx="1297706" cy="19610"/>
          </a:xfrm>
          <a:prstGeom prst="straightConnector1">
            <a:avLst/>
          </a:prstGeom>
          <a:ln w="9525">
            <a:solidFill>
              <a:schemeClr val="bg1">
                <a:lumMod val="6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DF087BF9-AC2D-42B9-9EEF-9BEA88AFAAC5}"/>
              </a:ext>
            </a:extLst>
          </p:cNvPr>
          <p:cNvCxnSpPr/>
          <p:nvPr/>
        </p:nvCxnSpPr>
        <p:spPr>
          <a:xfrm>
            <a:off x="3417338" y="3059927"/>
            <a:ext cx="470056" cy="0"/>
          </a:xfrm>
          <a:prstGeom prst="straightConnector1">
            <a:avLst/>
          </a:prstGeom>
          <a:ln w="9525">
            <a:solidFill>
              <a:schemeClr val="bg1">
                <a:lumMod val="6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B2F768B7-798B-4C9C-ABCC-0121CC002DF5}"/>
              </a:ext>
            </a:extLst>
          </p:cNvPr>
          <p:cNvCxnSpPr>
            <a:cxnSpLocks/>
          </p:cNvCxnSpPr>
          <p:nvPr/>
        </p:nvCxnSpPr>
        <p:spPr>
          <a:xfrm>
            <a:off x="3392747" y="3444794"/>
            <a:ext cx="1753755" cy="0"/>
          </a:xfrm>
          <a:prstGeom prst="straightConnector1">
            <a:avLst/>
          </a:prstGeom>
          <a:ln w="9525">
            <a:solidFill>
              <a:schemeClr val="bg1">
                <a:lumMod val="6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F9AC3F84-CF58-4765-9216-D3330CD2C639}"/>
              </a:ext>
            </a:extLst>
          </p:cNvPr>
          <p:cNvCxnSpPr>
            <a:cxnSpLocks/>
          </p:cNvCxnSpPr>
          <p:nvPr/>
        </p:nvCxnSpPr>
        <p:spPr>
          <a:xfrm>
            <a:off x="3887394" y="2342928"/>
            <a:ext cx="2556814" cy="0"/>
          </a:xfrm>
          <a:prstGeom prst="straightConnector1">
            <a:avLst/>
          </a:prstGeom>
          <a:ln w="9525">
            <a:solidFill>
              <a:schemeClr val="bg1">
                <a:lumMod val="6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51B683A8-6AE8-447F-9996-0FDBB4F2E2BA}"/>
              </a:ext>
            </a:extLst>
          </p:cNvPr>
          <p:cNvCxnSpPr>
            <a:cxnSpLocks/>
          </p:cNvCxnSpPr>
          <p:nvPr/>
        </p:nvCxnSpPr>
        <p:spPr>
          <a:xfrm flipH="1" flipV="1">
            <a:off x="2922893" y="1930106"/>
            <a:ext cx="494147" cy="779248"/>
          </a:xfrm>
          <a:prstGeom prst="line">
            <a:avLst/>
          </a:prstGeom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1265F858-6A5B-4A85-B45E-C2CB3DFE515B}"/>
              </a:ext>
            </a:extLst>
          </p:cNvPr>
          <p:cNvCxnSpPr>
            <a:cxnSpLocks/>
          </p:cNvCxnSpPr>
          <p:nvPr/>
        </p:nvCxnSpPr>
        <p:spPr>
          <a:xfrm flipH="1" flipV="1">
            <a:off x="1724634" y="2608039"/>
            <a:ext cx="493953" cy="803278"/>
          </a:xfrm>
          <a:prstGeom prst="line">
            <a:avLst/>
          </a:prstGeom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15302240-654E-451D-A720-EE8F94990D0C}"/>
              </a:ext>
            </a:extLst>
          </p:cNvPr>
          <p:cNvCxnSpPr>
            <a:cxnSpLocks/>
          </p:cNvCxnSpPr>
          <p:nvPr/>
        </p:nvCxnSpPr>
        <p:spPr>
          <a:xfrm flipH="1" flipV="1">
            <a:off x="2604474" y="2493107"/>
            <a:ext cx="285200" cy="425635"/>
          </a:xfrm>
          <a:prstGeom prst="line">
            <a:avLst/>
          </a:prstGeom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121085BA-FACA-4054-A8F7-12D35FE75AF0}"/>
              </a:ext>
            </a:extLst>
          </p:cNvPr>
          <p:cNvCxnSpPr/>
          <p:nvPr/>
        </p:nvCxnSpPr>
        <p:spPr>
          <a:xfrm flipV="1">
            <a:off x="2032467" y="2630075"/>
            <a:ext cx="667325" cy="449462"/>
          </a:xfrm>
          <a:prstGeom prst="straightConnector1">
            <a:avLst/>
          </a:prstGeom>
          <a:ln w="9525">
            <a:solidFill>
              <a:schemeClr val="bg1">
                <a:lumMod val="6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179A8536-78CF-4454-A77B-8FD6E740161A}"/>
              </a:ext>
            </a:extLst>
          </p:cNvPr>
          <p:cNvCxnSpPr/>
          <p:nvPr/>
        </p:nvCxnSpPr>
        <p:spPr>
          <a:xfrm flipV="1">
            <a:off x="2699792" y="2342928"/>
            <a:ext cx="432346" cy="274423"/>
          </a:xfrm>
          <a:prstGeom prst="straightConnector1">
            <a:avLst/>
          </a:prstGeom>
          <a:ln w="9525">
            <a:solidFill>
              <a:schemeClr val="bg1">
                <a:lumMod val="6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AE5AF0D0-91B9-46AC-A40D-5EB8D6980E61}"/>
              </a:ext>
            </a:extLst>
          </p:cNvPr>
          <p:cNvCxnSpPr/>
          <p:nvPr/>
        </p:nvCxnSpPr>
        <p:spPr>
          <a:xfrm flipV="1">
            <a:off x="1889037" y="2130627"/>
            <a:ext cx="1126240" cy="731301"/>
          </a:xfrm>
          <a:prstGeom prst="straightConnector1">
            <a:avLst/>
          </a:prstGeom>
          <a:ln w="9525">
            <a:solidFill>
              <a:schemeClr val="bg1">
                <a:lumMod val="6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98BF72D0-961F-4F9F-8682-180E1ED9EFB8}"/>
              </a:ext>
            </a:extLst>
          </p:cNvPr>
          <p:cNvCxnSpPr>
            <a:stCxn id="24" idx="2"/>
          </p:cNvCxnSpPr>
          <p:nvPr/>
        </p:nvCxnSpPr>
        <p:spPr>
          <a:xfrm flipH="1" flipV="1">
            <a:off x="3059832" y="2673572"/>
            <a:ext cx="321502" cy="1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9" y="843558"/>
            <a:ext cx="8353425" cy="3312517"/>
          </a:xfrm>
        </p:spPr>
        <p:txBody>
          <a:bodyPr/>
          <a:lstStyle/>
          <a:p>
            <a:r>
              <a:rPr lang="de-DE" dirty="0"/>
              <a:t>For the propouse of studyng the yaw plane dynamics of the vehicle-trailer conbination, a single track (mean bicycle description) 4-th order model ilustraited in Figure 1.</a:t>
            </a:r>
          </a:p>
          <a:p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alytical model of vehicle-trailer combination</a:t>
            </a:r>
            <a:br>
              <a:rPr lang="de-DE" dirty="0"/>
            </a:b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17 June 2020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AFBFA9A-C34A-4BC0-8441-4DD4E99D7772}"/>
              </a:ext>
            </a:extLst>
          </p:cNvPr>
          <p:cNvGrpSpPr/>
          <p:nvPr/>
        </p:nvGrpSpPr>
        <p:grpSpPr>
          <a:xfrm rot="3404244">
            <a:off x="2135859" y="3157706"/>
            <a:ext cx="249065" cy="507978"/>
            <a:chOff x="5106987" y="1347788"/>
            <a:chExt cx="1666875" cy="3495675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FD317F40-06DA-46F3-9163-DABF7C2AC9E1}"/>
                </a:ext>
              </a:extLst>
            </p:cNvPr>
            <p:cNvSpPr/>
            <p:nvPr/>
          </p:nvSpPr>
          <p:spPr>
            <a:xfrm>
              <a:off x="5106987" y="1347788"/>
              <a:ext cx="1666875" cy="3495675"/>
            </a:xfrm>
            <a:custGeom>
              <a:avLst/>
              <a:gdLst>
                <a:gd name="connsiteX0" fmla="*/ 1290638 w 1666875"/>
                <a:gd name="connsiteY0" fmla="*/ 0 h 3495675"/>
                <a:gd name="connsiteX1" fmla="*/ 376238 w 1666875"/>
                <a:gd name="connsiteY1" fmla="*/ 0 h 3495675"/>
                <a:gd name="connsiteX2" fmla="*/ 0 w 1666875"/>
                <a:gd name="connsiteY2" fmla="*/ 376238 h 3495675"/>
                <a:gd name="connsiteX3" fmla="*/ 0 w 1666875"/>
                <a:gd name="connsiteY3" fmla="*/ 3119438 h 3495675"/>
                <a:gd name="connsiteX4" fmla="*/ 376238 w 1666875"/>
                <a:gd name="connsiteY4" fmla="*/ 3495675 h 3495675"/>
                <a:gd name="connsiteX5" fmla="*/ 1290638 w 1666875"/>
                <a:gd name="connsiteY5" fmla="*/ 3495675 h 3495675"/>
                <a:gd name="connsiteX6" fmla="*/ 1666875 w 1666875"/>
                <a:gd name="connsiteY6" fmla="*/ 3119438 h 3495675"/>
                <a:gd name="connsiteX7" fmla="*/ 1666875 w 1666875"/>
                <a:gd name="connsiteY7" fmla="*/ 376238 h 3495675"/>
                <a:gd name="connsiteX8" fmla="*/ 1290638 w 1666875"/>
                <a:gd name="connsiteY8" fmla="*/ 0 h 3495675"/>
                <a:gd name="connsiteX9" fmla="*/ 1524000 w 1666875"/>
                <a:gd name="connsiteY9" fmla="*/ 3119438 h 3495675"/>
                <a:gd name="connsiteX10" fmla="*/ 1290638 w 1666875"/>
                <a:gd name="connsiteY10" fmla="*/ 3352800 h 3495675"/>
                <a:gd name="connsiteX11" fmla="*/ 376238 w 1666875"/>
                <a:gd name="connsiteY11" fmla="*/ 3352800 h 3495675"/>
                <a:gd name="connsiteX12" fmla="*/ 142875 w 1666875"/>
                <a:gd name="connsiteY12" fmla="*/ 3119438 h 3495675"/>
                <a:gd name="connsiteX13" fmla="*/ 142875 w 1666875"/>
                <a:gd name="connsiteY13" fmla="*/ 376238 h 3495675"/>
                <a:gd name="connsiteX14" fmla="*/ 376238 w 1666875"/>
                <a:gd name="connsiteY14" fmla="*/ 142875 h 3495675"/>
                <a:gd name="connsiteX15" fmla="*/ 1290638 w 1666875"/>
                <a:gd name="connsiteY15" fmla="*/ 142875 h 3495675"/>
                <a:gd name="connsiteX16" fmla="*/ 1524000 w 1666875"/>
                <a:gd name="connsiteY16" fmla="*/ 376238 h 3495675"/>
                <a:gd name="connsiteX17" fmla="*/ 1524000 w 1666875"/>
                <a:gd name="connsiteY17" fmla="*/ 3119438 h 3495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66875" h="3495675">
                  <a:moveTo>
                    <a:pt x="1290638" y="0"/>
                  </a:moveTo>
                  <a:lnTo>
                    <a:pt x="376238" y="0"/>
                  </a:lnTo>
                  <a:cubicBezTo>
                    <a:pt x="168450" y="0"/>
                    <a:pt x="0" y="168450"/>
                    <a:pt x="0" y="376238"/>
                  </a:cubicBezTo>
                  <a:lnTo>
                    <a:pt x="0" y="3119438"/>
                  </a:lnTo>
                  <a:cubicBezTo>
                    <a:pt x="0" y="3327226"/>
                    <a:pt x="168450" y="3495675"/>
                    <a:pt x="376238" y="3495675"/>
                  </a:cubicBezTo>
                  <a:lnTo>
                    <a:pt x="1290638" y="3495675"/>
                  </a:lnTo>
                  <a:cubicBezTo>
                    <a:pt x="1498425" y="3495675"/>
                    <a:pt x="1666875" y="3327226"/>
                    <a:pt x="1666875" y="3119438"/>
                  </a:cubicBezTo>
                  <a:lnTo>
                    <a:pt x="1666875" y="376238"/>
                  </a:lnTo>
                  <a:cubicBezTo>
                    <a:pt x="1666875" y="168450"/>
                    <a:pt x="1498425" y="0"/>
                    <a:pt x="1290638" y="0"/>
                  </a:cubicBezTo>
                  <a:close/>
                  <a:moveTo>
                    <a:pt x="1524000" y="3119438"/>
                  </a:moveTo>
                  <a:cubicBezTo>
                    <a:pt x="1524000" y="3248320"/>
                    <a:pt x="1419520" y="3352800"/>
                    <a:pt x="1290638" y="3352800"/>
                  </a:cubicBezTo>
                  <a:lnTo>
                    <a:pt x="376238" y="3352800"/>
                  </a:lnTo>
                  <a:cubicBezTo>
                    <a:pt x="247355" y="3352800"/>
                    <a:pt x="142875" y="3248320"/>
                    <a:pt x="142875" y="3119438"/>
                  </a:cubicBezTo>
                  <a:lnTo>
                    <a:pt x="142875" y="376238"/>
                  </a:lnTo>
                  <a:cubicBezTo>
                    <a:pt x="142875" y="247355"/>
                    <a:pt x="247355" y="142875"/>
                    <a:pt x="376238" y="142875"/>
                  </a:cubicBezTo>
                  <a:lnTo>
                    <a:pt x="1290638" y="142875"/>
                  </a:lnTo>
                  <a:cubicBezTo>
                    <a:pt x="1419520" y="142875"/>
                    <a:pt x="1524000" y="247355"/>
                    <a:pt x="1524000" y="376238"/>
                  </a:cubicBezTo>
                  <a:lnTo>
                    <a:pt x="1524000" y="311943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A121EB6-C535-4C0C-90A5-A5ED757381D3}"/>
                </a:ext>
              </a:extLst>
            </p:cNvPr>
            <p:cNvSpPr/>
            <p:nvPr/>
          </p:nvSpPr>
          <p:spPr>
            <a:xfrm>
              <a:off x="5411787" y="4462463"/>
              <a:ext cx="142875" cy="152400"/>
            </a:xfrm>
            <a:custGeom>
              <a:avLst/>
              <a:gdLst>
                <a:gd name="connsiteX0" fmla="*/ 0 w 142875"/>
                <a:gd name="connsiteY0" fmla="*/ 0 h 152400"/>
                <a:gd name="connsiteX1" fmla="*/ 142875 w 142875"/>
                <a:gd name="connsiteY1" fmla="*/ 0 h 152400"/>
                <a:gd name="connsiteX2" fmla="*/ 142875 w 142875"/>
                <a:gd name="connsiteY2" fmla="*/ 152400 h 152400"/>
                <a:gd name="connsiteX3" fmla="*/ 0 w 142875"/>
                <a:gd name="connsiteY3" fmla="*/ 1524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2875" h="152400">
                  <a:moveTo>
                    <a:pt x="0" y="0"/>
                  </a:moveTo>
                  <a:lnTo>
                    <a:pt x="142875" y="0"/>
                  </a:lnTo>
                  <a:lnTo>
                    <a:pt x="142875" y="152400"/>
                  </a:lnTo>
                  <a:lnTo>
                    <a:pt x="0" y="15240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24713CE-D232-47D3-96C5-E8A1E27B57DB}"/>
                </a:ext>
              </a:extLst>
            </p:cNvPr>
            <p:cNvSpPr/>
            <p:nvPr/>
          </p:nvSpPr>
          <p:spPr>
            <a:xfrm>
              <a:off x="5411787" y="1566863"/>
              <a:ext cx="1057275" cy="3048000"/>
            </a:xfrm>
            <a:custGeom>
              <a:avLst/>
              <a:gdLst>
                <a:gd name="connsiteX0" fmla="*/ 914400 w 1057275"/>
                <a:gd name="connsiteY0" fmla="*/ 381000 h 3048000"/>
                <a:gd name="connsiteX1" fmla="*/ 914400 w 1057275"/>
                <a:gd name="connsiteY1" fmla="*/ 589531 h 3048000"/>
                <a:gd name="connsiteX2" fmla="*/ 752475 w 1057275"/>
                <a:gd name="connsiteY2" fmla="*/ 427606 h 3048000"/>
                <a:gd name="connsiteX3" fmla="*/ 752475 w 1057275"/>
                <a:gd name="connsiteY3" fmla="*/ 0 h 3048000"/>
                <a:gd name="connsiteX4" fmla="*/ 609600 w 1057275"/>
                <a:gd name="connsiteY4" fmla="*/ 0 h 3048000"/>
                <a:gd name="connsiteX5" fmla="*/ 609600 w 1057275"/>
                <a:gd name="connsiteY5" fmla="*/ 122806 h 3048000"/>
                <a:gd name="connsiteX6" fmla="*/ 447675 w 1057275"/>
                <a:gd name="connsiteY6" fmla="*/ 284731 h 3048000"/>
                <a:gd name="connsiteX7" fmla="*/ 447675 w 1057275"/>
                <a:gd name="connsiteY7" fmla="*/ 0 h 3048000"/>
                <a:gd name="connsiteX8" fmla="*/ 304800 w 1057275"/>
                <a:gd name="connsiteY8" fmla="*/ 0 h 3048000"/>
                <a:gd name="connsiteX9" fmla="*/ 304800 w 1057275"/>
                <a:gd name="connsiteY9" fmla="*/ 589531 h 3048000"/>
                <a:gd name="connsiteX10" fmla="*/ 142875 w 1057275"/>
                <a:gd name="connsiteY10" fmla="*/ 427606 h 3048000"/>
                <a:gd name="connsiteX11" fmla="*/ 142875 w 1057275"/>
                <a:gd name="connsiteY11" fmla="*/ 0 h 3048000"/>
                <a:gd name="connsiteX12" fmla="*/ 0 w 1057275"/>
                <a:gd name="connsiteY12" fmla="*/ 0 h 3048000"/>
                <a:gd name="connsiteX13" fmla="*/ 0 w 1057275"/>
                <a:gd name="connsiteY13" fmla="*/ 2667000 h 3048000"/>
                <a:gd name="connsiteX14" fmla="*/ 142875 w 1057275"/>
                <a:gd name="connsiteY14" fmla="*/ 2667000 h 3048000"/>
                <a:gd name="connsiteX15" fmla="*/ 142875 w 1057275"/>
                <a:gd name="connsiteY15" fmla="*/ 2458469 h 3048000"/>
                <a:gd name="connsiteX16" fmla="*/ 304800 w 1057275"/>
                <a:gd name="connsiteY16" fmla="*/ 2620394 h 3048000"/>
                <a:gd name="connsiteX17" fmla="*/ 304800 w 1057275"/>
                <a:gd name="connsiteY17" fmla="*/ 3048000 h 3048000"/>
                <a:gd name="connsiteX18" fmla="*/ 447675 w 1057275"/>
                <a:gd name="connsiteY18" fmla="*/ 3048000 h 3048000"/>
                <a:gd name="connsiteX19" fmla="*/ 447675 w 1057275"/>
                <a:gd name="connsiteY19" fmla="*/ 2925194 h 3048000"/>
                <a:gd name="connsiteX20" fmla="*/ 609600 w 1057275"/>
                <a:gd name="connsiteY20" fmla="*/ 2763269 h 3048000"/>
                <a:gd name="connsiteX21" fmla="*/ 609600 w 1057275"/>
                <a:gd name="connsiteY21" fmla="*/ 3048000 h 3048000"/>
                <a:gd name="connsiteX22" fmla="*/ 752475 w 1057275"/>
                <a:gd name="connsiteY22" fmla="*/ 3048000 h 3048000"/>
                <a:gd name="connsiteX23" fmla="*/ 752475 w 1057275"/>
                <a:gd name="connsiteY23" fmla="*/ 2458469 h 3048000"/>
                <a:gd name="connsiteX24" fmla="*/ 914400 w 1057275"/>
                <a:gd name="connsiteY24" fmla="*/ 2620394 h 3048000"/>
                <a:gd name="connsiteX25" fmla="*/ 914400 w 1057275"/>
                <a:gd name="connsiteY25" fmla="*/ 3048000 h 3048000"/>
                <a:gd name="connsiteX26" fmla="*/ 1057275 w 1057275"/>
                <a:gd name="connsiteY26" fmla="*/ 3048000 h 3048000"/>
                <a:gd name="connsiteX27" fmla="*/ 1057275 w 1057275"/>
                <a:gd name="connsiteY27" fmla="*/ 381000 h 3048000"/>
                <a:gd name="connsiteX28" fmla="*/ 914400 w 1057275"/>
                <a:gd name="connsiteY28" fmla="*/ 381000 h 3048000"/>
                <a:gd name="connsiteX29" fmla="*/ 304800 w 1057275"/>
                <a:gd name="connsiteY29" fmla="*/ 2418331 h 3048000"/>
                <a:gd name="connsiteX30" fmla="*/ 142875 w 1057275"/>
                <a:gd name="connsiteY30" fmla="*/ 2256406 h 3048000"/>
                <a:gd name="connsiteX31" fmla="*/ 142875 w 1057275"/>
                <a:gd name="connsiteY31" fmla="*/ 1848869 h 3048000"/>
                <a:gd name="connsiteX32" fmla="*/ 304800 w 1057275"/>
                <a:gd name="connsiteY32" fmla="*/ 2010794 h 3048000"/>
                <a:gd name="connsiteX33" fmla="*/ 304800 w 1057275"/>
                <a:gd name="connsiteY33" fmla="*/ 2418331 h 3048000"/>
                <a:gd name="connsiteX34" fmla="*/ 304800 w 1057275"/>
                <a:gd name="connsiteY34" fmla="*/ 1808731 h 3048000"/>
                <a:gd name="connsiteX35" fmla="*/ 142875 w 1057275"/>
                <a:gd name="connsiteY35" fmla="*/ 1646806 h 3048000"/>
                <a:gd name="connsiteX36" fmla="*/ 142875 w 1057275"/>
                <a:gd name="connsiteY36" fmla="*/ 1239269 h 3048000"/>
                <a:gd name="connsiteX37" fmla="*/ 304800 w 1057275"/>
                <a:gd name="connsiteY37" fmla="*/ 1401194 h 3048000"/>
                <a:gd name="connsiteX38" fmla="*/ 304800 w 1057275"/>
                <a:gd name="connsiteY38" fmla="*/ 1808731 h 3048000"/>
                <a:gd name="connsiteX39" fmla="*/ 304800 w 1057275"/>
                <a:gd name="connsiteY39" fmla="*/ 1199131 h 3048000"/>
                <a:gd name="connsiteX40" fmla="*/ 142875 w 1057275"/>
                <a:gd name="connsiteY40" fmla="*/ 1037206 h 3048000"/>
                <a:gd name="connsiteX41" fmla="*/ 142875 w 1057275"/>
                <a:gd name="connsiteY41" fmla="*/ 629669 h 3048000"/>
                <a:gd name="connsiteX42" fmla="*/ 304800 w 1057275"/>
                <a:gd name="connsiteY42" fmla="*/ 791594 h 3048000"/>
                <a:gd name="connsiteX43" fmla="*/ 304800 w 1057275"/>
                <a:gd name="connsiteY43" fmla="*/ 1199131 h 3048000"/>
                <a:gd name="connsiteX44" fmla="*/ 609600 w 1057275"/>
                <a:gd name="connsiteY44" fmla="*/ 2561206 h 3048000"/>
                <a:gd name="connsiteX45" fmla="*/ 447675 w 1057275"/>
                <a:gd name="connsiteY45" fmla="*/ 2723131 h 3048000"/>
                <a:gd name="connsiteX46" fmla="*/ 447675 w 1057275"/>
                <a:gd name="connsiteY46" fmla="*/ 2315594 h 3048000"/>
                <a:gd name="connsiteX47" fmla="*/ 609600 w 1057275"/>
                <a:gd name="connsiteY47" fmla="*/ 2153669 h 3048000"/>
                <a:gd name="connsiteX48" fmla="*/ 609600 w 1057275"/>
                <a:gd name="connsiteY48" fmla="*/ 2561206 h 3048000"/>
                <a:gd name="connsiteX49" fmla="*/ 609600 w 1057275"/>
                <a:gd name="connsiteY49" fmla="*/ 1951606 h 3048000"/>
                <a:gd name="connsiteX50" fmla="*/ 447675 w 1057275"/>
                <a:gd name="connsiteY50" fmla="*/ 2113531 h 3048000"/>
                <a:gd name="connsiteX51" fmla="*/ 447675 w 1057275"/>
                <a:gd name="connsiteY51" fmla="*/ 1705994 h 3048000"/>
                <a:gd name="connsiteX52" fmla="*/ 609600 w 1057275"/>
                <a:gd name="connsiteY52" fmla="*/ 1544069 h 3048000"/>
                <a:gd name="connsiteX53" fmla="*/ 609600 w 1057275"/>
                <a:gd name="connsiteY53" fmla="*/ 1951606 h 3048000"/>
                <a:gd name="connsiteX54" fmla="*/ 609600 w 1057275"/>
                <a:gd name="connsiteY54" fmla="*/ 1342006 h 3048000"/>
                <a:gd name="connsiteX55" fmla="*/ 447675 w 1057275"/>
                <a:gd name="connsiteY55" fmla="*/ 1503931 h 3048000"/>
                <a:gd name="connsiteX56" fmla="*/ 447675 w 1057275"/>
                <a:gd name="connsiteY56" fmla="*/ 1096394 h 3048000"/>
                <a:gd name="connsiteX57" fmla="*/ 609600 w 1057275"/>
                <a:gd name="connsiteY57" fmla="*/ 934469 h 3048000"/>
                <a:gd name="connsiteX58" fmla="*/ 609600 w 1057275"/>
                <a:gd name="connsiteY58" fmla="*/ 1342006 h 3048000"/>
                <a:gd name="connsiteX59" fmla="*/ 609600 w 1057275"/>
                <a:gd name="connsiteY59" fmla="*/ 732406 h 3048000"/>
                <a:gd name="connsiteX60" fmla="*/ 447675 w 1057275"/>
                <a:gd name="connsiteY60" fmla="*/ 894331 h 3048000"/>
                <a:gd name="connsiteX61" fmla="*/ 447675 w 1057275"/>
                <a:gd name="connsiteY61" fmla="*/ 486794 h 3048000"/>
                <a:gd name="connsiteX62" fmla="*/ 609600 w 1057275"/>
                <a:gd name="connsiteY62" fmla="*/ 324869 h 3048000"/>
                <a:gd name="connsiteX63" fmla="*/ 609600 w 1057275"/>
                <a:gd name="connsiteY63" fmla="*/ 732406 h 3048000"/>
                <a:gd name="connsiteX64" fmla="*/ 914400 w 1057275"/>
                <a:gd name="connsiteY64" fmla="*/ 2418331 h 3048000"/>
                <a:gd name="connsiteX65" fmla="*/ 752475 w 1057275"/>
                <a:gd name="connsiteY65" fmla="*/ 2256406 h 3048000"/>
                <a:gd name="connsiteX66" fmla="*/ 752475 w 1057275"/>
                <a:gd name="connsiteY66" fmla="*/ 1848869 h 3048000"/>
                <a:gd name="connsiteX67" fmla="*/ 914400 w 1057275"/>
                <a:gd name="connsiteY67" fmla="*/ 2010794 h 3048000"/>
                <a:gd name="connsiteX68" fmla="*/ 914400 w 1057275"/>
                <a:gd name="connsiteY68" fmla="*/ 2418331 h 3048000"/>
                <a:gd name="connsiteX69" fmla="*/ 914400 w 1057275"/>
                <a:gd name="connsiteY69" fmla="*/ 1808731 h 3048000"/>
                <a:gd name="connsiteX70" fmla="*/ 752475 w 1057275"/>
                <a:gd name="connsiteY70" fmla="*/ 1646806 h 3048000"/>
                <a:gd name="connsiteX71" fmla="*/ 752475 w 1057275"/>
                <a:gd name="connsiteY71" fmla="*/ 1239269 h 3048000"/>
                <a:gd name="connsiteX72" fmla="*/ 914400 w 1057275"/>
                <a:gd name="connsiteY72" fmla="*/ 1401194 h 3048000"/>
                <a:gd name="connsiteX73" fmla="*/ 914400 w 1057275"/>
                <a:gd name="connsiteY73" fmla="*/ 1808731 h 3048000"/>
                <a:gd name="connsiteX74" fmla="*/ 914400 w 1057275"/>
                <a:gd name="connsiteY74" fmla="*/ 1199131 h 3048000"/>
                <a:gd name="connsiteX75" fmla="*/ 752475 w 1057275"/>
                <a:gd name="connsiteY75" fmla="*/ 1037206 h 3048000"/>
                <a:gd name="connsiteX76" fmla="*/ 752475 w 1057275"/>
                <a:gd name="connsiteY76" fmla="*/ 629669 h 3048000"/>
                <a:gd name="connsiteX77" fmla="*/ 914400 w 1057275"/>
                <a:gd name="connsiteY77" fmla="*/ 791594 h 3048000"/>
                <a:gd name="connsiteX78" fmla="*/ 914400 w 1057275"/>
                <a:gd name="connsiteY78" fmla="*/ 1199131 h 304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1057275" h="3048000">
                  <a:moveTo>
                    <a:pt x="914400" y="381000"/>
                  </a:moveTo>
                  <a:lnTo>
                    <a:pt x="914400" y="589531"/>
                  </a:lnTo>
                  <a:lnTo>
                    <a:pt x="752475" y="427606"/>
                  </a:lnTo>
                  <a:lnTo>
                    <a:pt x="752475" y="0"/>
                  </a:lnTo>
                  <a:lnTo>
                    <a:pt x="609600" y="0"/>
                  </a:lnTo>
                  <a:lnTo>
                    <a:pt x="609600" y="122806"/>
                  </a:lnTo>
                  <a:lnTo>
                    <a:pt x="447675" y="284731"/>
                  </a:lnTo>
                  <a:lnTo>
                    <a:pt x="447675" y="0"/>
                  </a:lnTo>
                  <a:lnTo>
                    <a:pt x="304800" y="0"/>
                  </a:lnTo>
                  <a:lnTo>
                    <a:pt x="304800" y="589531"/>
                  </a:lnTo>
                  <a:lnTo>
                    <a:pt x="142875" y="427606"/>
                  </a:lnTo>
                  <a:lnTo>
                    <a:pt x="142875" y="0"/>
                  </a:lnTo>
                  <a:lnTo>
                    <a:pt x="0" y="0"/>
                  </a:lnTo>
                  <a:lnTo>
                    <a:pt x="0" y="2667000"/>
                  </a:lnTo>
                  <a:lnTo>
                    <a:pt x="142875" y="2667000"/>
                  </a:lnTo>
                  <a:lnTo>
                    <a:pt x="142875" y="2458469"/>
                  </a:lnTo>
                  <a:lnTo>
                    <a:pt x="304800" y="2620394"/>
                  </a:lnTo>
                  <a:lnTo>
                    <a:pt x="304800" y="3048000"/>
                  </a:lnTo>
                  <a:lnTo>
                    <a:pt x="447675" y="3048000"/>
                  </a:lnTo>
                  <a:lnTo>
                    <a:pt x="447675" y="2925194"/>
                  </a:lnTo>
                  <a:lnTo>
                    <a:pt x="609600" y="2763269"/>
                  </a:lnTo>
                  <a:lnTo>
                    <a:pt x="609600" y="3048000"/>
                  </a:lnTo>
                  <a:lnTo>
                    <a:pt x="752475" y="3048000"/>
                  </a:lnTo>
                  <a:lnTo>
                    <a:pt x="752475" y="2458469"/>
                  </a:lnTo>
                  <a:lnTo>
                    <a:pt x="914400" y="2620394"/>
                  </a:lnTo>
                  <a:lnTo>
                    <a:pt x="914400" y="3048000"/>
                  </a:lnTo>
                  <a:lnTo>
                    <a:pt x="1057275" y="3048000"/>
                  </a:lnTo>
                  <a:lnTo>
                    <a:pt x="1057275" y="381000"/>
                  </a:lnTo>
                  <a:lnTo>
                    <a:pt x="914400" y="381000"/>
                  </a:lnTo>
                  <a:close/>
                  <a:moveTo>
                    <a:pt x="304800" y="2418331"/>
                  </a:moveTo>
                  <a:lnTo>
                    <a:pt x="142875" y="2256406"/>
                  </a:lnTo>
                  <a:lnTo>
                    <a:pt x="142875" y="1848869"/>
                  </a:lnTo>
                  <a:lnTo>
                    <a:pt x="304800" y="2010794"/>
                  </a:lnTo>
                  <a:lnTo>
                    <a:pt x="304800" y="2418331"/>
                  </a:lnTo>
                  <a:close/>
                  <a:moveTo>
                    <a:pt x="304800" y="1808731"/>
                  </a:moveTo>
                  <a:lnTo>
                    <a:pt x="142875" y="1646806"/>
                  </a:lnTo>
                  <a:lnTo>
                    <a:pt x="142875" y="1239269"/>
                  </a:lnTo>
                  <a:lnTo>
                    <a:pt x="304800" y="1401194"/>
                  </a:lnTo>
                  <a:lnTo>
                    <a:pt x="304800" y="1808731"/>
                  </a:lnTo>
                  <a:close/>
                  <a:moveTo>
                    <a:pt x="304800" y="1199131"/>
                  </a:moveTo>
                  <a:lnTo>
                    <a:pt x="142875" y="1037206"/>
                  </a:lnTo>
                  <a:lnTo>
                    <a:pt x="142875" y="629669"/>
                  </a:lnTo>
                  <a:lnTo>
                    <a:pt x="304800" y="791594"/>
                  </a:lnTo>
                  <a:lnTo>
                    <a:pt x="304800" y="1199131"/>
                  </a:lnTo>
                  <a:close/>
                  <a:moveTo>
                    <a:pt x="609600" y="2561206"/>
                  </a:moveTo>
                  <a:lnTo>
                    <a:pt x="447675" y="2723131"/>
                  </a:lnTo>
                  <a:lnTo>
                    <a:pt x="447675" y="2315594"/>
                  </a:lnTo>
                  <a:lnTo>
                    <a:pt x="609600" y="2153669"/>
                  </a:lnTo>
                  <a:lnTo>
                    <a:pt x="609600" y="2561206"/>
                  </a:lnTo>
                  <a:close/>
                  <a:moveTo>
                    <a:pt x="609600" y="1951606"/>
                  </a:moveTo>
                  <a:lnTo>
                    <a:pt x="447675" y="2113531"/>
                  </a:lnTo>
                  <a:lnTo>
                    <a:pt x="447675" y="1705994"/>
                  </a:lnTo>
                  <a:lnTo>
                    <a:pt x="609600" y="1544069"/>
                  </a:lnTo>
                  <a:lnTo>
                    <a:pt x="609600" y="1951606"/>
                  </a:lnTo>
                  <a:close/>
                  <a:moveTo>
                    <a:pt x="609600" y="1342006"/>
                  </a:moveTo>
                  <a:lnTo>
                    <a:pt x="447675" y="1503931"/>
                  </a:lnTo>
                  <a:lnTo>
                    <a:pt x="447675" y="1096394"/>
                  </a:lnTo>
                  <a:lnTo>
                    <a:pt x="609600" y="934469"/>
                  </a:lnTo>
                  <a:lnTo>
                    <a:pt x="609600" y="1342006"/>
                  </a:lnTo>
                  <a:close/>
                  <a:moveTo>
                    <a:pt x="609600" y="732406"/>
                  </a:moveTo>
                  <a:lnTo>
                    <a:pt x="447675" y="894331"/>
                  </a:lnTo>
                  <a:lnTo>
                    <a:pt x="447675" y="486794"/>
                  </a:lnTo>
                  <a:lnTo>
                    <a:pt x="609600" y="324869"/>
                  </a:lnTo>
                  <a:lnTo>
                    <a:pt x="609600" y="732406"/>
                  </a:lnTo>
                  <a:close/>
                  <a:moveTo>
                    <a:pt x="914400" y="2418331"/>
                  </a:moveTo>
                  <a:lnTo>
                    <a:pt x="752475" y="2256406"/>
                  </a:lnTo>
                  <a:lnTo>
                    <a:pt x="752475" y="1848869"/>
                  </a:lnTo>
                  <a:lnTo>
                    <a:pt x="914400" y="2010794"/>
                  </a:lnTo>
                  <a:lnTo>
                    <a:pt x="914400" y="2418331"/>
                  </a:lnTo>
                  <a:close/>
                  <a:moveTo>
                    <a:pt x="914400" y="1808731"/>
                  </a:moveTo>
                  <a:lnTo>
                    <a:pt x="752475" y="1646806"/>
                  </a:lnTo>
                  <a:lnTo>
                    <a:pt x="752475" y="1239269"/>
                  </a:lnTo>
                  <a:lnTo>
                    <a:pt x="914400" y="1401194"/>
                  </a:lnTo>
                  <a:lnTo>
                    <a:pt x="914400" y="1808731"/>
                  </a:lnTo>
                  <a:close/>
                  <a:moveTo>
                    <a:pt x="914400" y="1199131"/>
                  </a:moveTo>
                  <a:lnTo>
                    <a:pt x="752475" y="1037206"/>
                  </a:lnTo>
                  <a:lnTo>
                    <a:pt x="752475" y="629669"/>
                  </a:lnTo>
                  <a:lnTo>
                    <a:pt x="914400" y="791594"/>
                  </a:lnTo>
                  <a:lnTo>
                    <a:pt x="914400" y="119913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4B6FF7B0-934C-42F9-9631-E5943F02C4BD}"/>
                </a:ext>
              </a:extLst>
            </p:cNvPr>
            <p:cNvSpPr/>
            <p:nvPr/>
          </p:nvSpPr>
          <p:spPr>
            <a:xfrm>
              <a:off x="6326187" y="1566863"/>
              <a:ext cx="142875" cy="152400"/>
            </a:xfrm>
            <a:custGeom>
              <a:avLst/>
              <a:gdLst>
                <a:gd name="connsiteX0" fmla="*/ 0 w 142875"/>
                <a:gd name="connsiteY0" fmla="*/ 0 h 152400"/>
                <a:gd name="connsiteX1" fmla="*/ 142875 w 142875"/>
                <a:gd name="connsiteY1" fmla="*/ 0 h 152400"/>
                <a:gd name="connsiteX2" fmla="*/ 142875 w 142875"/>
                <a:gd name="connsiteY2" fmla="*/ 152400 h 152400"/>
                <a:gd name="connsiteX3" fmla="*/ 0 w 142875"/>
                <a:gd name="connsiteY3" fmla="*/ 1524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2875" h="152400">
                  <a:moveTo>
                    <a:pt x="0" y="0"/>
                  </a:moveTo>
                  <a:lnTo>
                    <a:pt x="142875" y="0"/>
                  </a:lnTo>
                  <a:lnTo>
                    <a:pt x="142875" y="152400"/>
                  </a:lnTo>
                  <a:lnTo>
                    <a:pt x="0" y="15240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D7730E6-41A8-41D0-9141-6A94BC1B1742}"/>
              </a:ext>
            </a:extLst>
          </p:cNvPr>
          <p:cNvCxnSpPr>
            <a:cxnSpLocks/>
          </p:cNvCxnSpPr>
          <p:nvPr/>
        </p:nvCxnSpPr>
        <p:spPr>
          <a:xfrm flipV="1">
            <a:off x="2474359" y="2699887"/>
            <a:ext cx="918388" cy="576064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lowchart: Or 22">
            <a:extLst>
              <a:ext uri="{FF2B5EF4-FFF2-40B4-BE49-F238E27FC236}">
                <a16:creationId xmlns:a16="http://schemas.microsoft.com/office/drawing/2014/main" id="{EFA7A0C7-D12F-45EB-B4BE-B20EDC1BC957}"/>
              </a:ext>
            </a:extLst>
          </p:cNvPr>
          <p:cNvSpPr/>
          <p:nvPr/>
        </p:nvSpPr>
        <p:spPr>
          <a:xfrm>
            <a:off x="2861545" y="2915911"/>
            <a:ext cx="144016" cy="144016"/>
          </a:xfrm>
          <a:prstGeom prst="flowChartOr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63589EFF-749B-4CA5-BEE2-9602756E41DD}"/>
              </a:ext>
            </a:extLst>
          </p:cNvPr>
          <p:cNvSpPr/>
          <p:nvPr/>
        </p:nvSpPr>
        <p:spPr>
          <a:xfrm>
            <a:off x="3381334" y="2637792"/>
            <a:ext cx="72008" cy="71561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03CE7F4-60D2-4A2A-B525-635C5D5039E9}"/>
              </a:ext>
            </a:extLst>
          </p:cNvPr>
          <p:cNvGrpSpPr/>
          <p:nvPr/>
        </p:nvGrpSpPr>
        <p:grpSpPr>
          <a:xfrm rot="5400000">
            <a:off x="3762862" y="2399816"/>
            <a:ext cx="249065" cy="507978"/>
            <a:chOff x="5106987" y="1347788"/>
            <a:chExt cx="1666875" cy="3495675"/>
          </a:xfrm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3CCC5BEB-D882-453C-BBD6-5D18109290B7}"/>
                </a:ext>
              </a:extLst>
            </p:cNvPr>
            <p:cNvSpPr/>
            <p:nvPr/>
          </p:nvSpPr>
          <p:spPr>
            <a:xfrm>
              <a:off x="5106987" y="1347788"/>
              <a:ext cx="1666875" cy="3495675"/>
            </a:xfrm>
            <a:custGeom>
              <a:avLst/>
              <a:gdLst>
                <a:gd name="connsiteX0" fmla="*/ 1290638 w 1666875"/>
                <a:gd name="connsiteY0" fmla="*/ 0 h 3495675"/>
                <a:gd name="connsiteX1" fmla="*/ 376238 w 1666875"/>
                <a:gd name="connsiteY1" fmla="*/ 0 h 3495675"/>
                <a:gd name="connsiteX2" fmla="*/ 0 w 1666875"/>
                <a:gd name="connsiteY2" fmla="*/ 376238 h 3495675"/>
                <a:gd name="connsiteX3" fmla="*/ 0 w 1666875"/>
                <a:gd name="connsiteY3" fmla="*/ 3119438 h 3495675"/>
                <a:gd name="connsiteX4" fmla="*/ 376238 w 1666875"/>
                <a:gd name="connsiteY4" fmla="*/ 3495675 h 3495675"/>
                <a:gd name="connsiteX5" fmla="*/ 1290638 w 1666875"/>
                <a:gd name="connsiteY5" fmla="*/ 3495675 h 3495675"/>
                <a:gd name="connsiteX6" fmla="*/ 1666875 w 1666875"/>
                <a:gd name="connsiteY6" fmla="*/ 3119438 h 3495675"/>
                <a:gd name="connsiteX7" fmla="*/ 1666875 w 1666875"/>
                <a:gd name="connsiteY7" fmla="*/ 376238 h 3495675"/>
                <a:gd name="connsiteX8" fmla="*/ 1290638 w 1666875"/>
                <a:gd name="connsiteY8" fmla="*/ 0 h 3495675"/>
                <a:gd name="connsiteX9" fmla="*/ 1524000 w 1666875"/>
                <a:gd name="connsiteY9" fmla="*/ 3119438 h 3495675"/>
                <a:gd name="connsiteX10" fmla="*/ 1290638 w 1666875"/>
                <a:gd name="connsiteY10" fmla="*/ 3352800 h 3495675"/>
                <a:gd name="connsiteX11" fmla="*/ 376238 w 1666875"/>
                <a:gd name="connsiteY11" fmla="*/ 3352800 h 3495675"/>
                <a:gd name="connsiteX12" fmla="*/ 142875 w 1666875"/>
                <a:gd name="connsiteY12" fmla="*/ 3119438 h 3495675"/>
                <a:gd name="connsiteX13" fmla="*/ 142875 w 1666875"/>
                <a:gd name="connsiteY13" fmla="*/ 376238 h 3495675"/>
                <a:gd name="connsiteX14" fmla="*/ 376238 w 1666875"/>
                <a:gd name="connsiteY14" fmla="*/ 142875 h 3495675"/>
                <a:gd name="connsiteX15" fmla="*/ 1290638 w 1666875"/>
                <a:gd name="connsiteY15" fmla="*/ 142875 h 3495675"/>
                <a:gd name="connsiteX16" fmla="*/ 1524000 w 1666875"/>
                <a:gd name="connsiteY16" fmla="*/ 376238 h 3495675"/>
                <a:gd name="connsiteX17" fmla="*/ 1524000 w 1666875"/>
                <a:gd name="connsiteY17" fmla="*/ 3119438 h 3495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66875" h="3495675">
                  <a:moveTo>
                    <a:pt x="1290638" y="0"/>
                  </a:moveTo>
                  <a:lnTo>
                    <a:pt x="376238" y="0"/>
                  </a:lnTo>
                  <a:cubicBezTo>
                    <a:pt x="168450" y="0"/>
                    <a:pt x="0" y="168450"/>
                    <a:pt x="0" y="376238"/>
                  </a:cubicBezTo>
                  <a:lnTo>
                    <a:pt x="0" y="3119438"/>
                  </a:lnTo>
                  <a:cubicBezTo>
                    <a:pt x="0" y="3327226"/>
                    <a:pt x="168450" y="3495675"/>
                    <a:pt x="376238" y="3495675"/>
                  </a:cubicBezTo>
                  <a:lnTo>
                    <a:pt x="1290638" y="3495675"/>
                  </a:lnTo>
                  <a:cubicBezTo>
                    <a:pt x="1498425" y="3495675"/>
                    <a:pt x="1666875" y="3327226"/>
                    <a:pt x="1666875" y="3119438"/>
                  </a:cubicBezTo>
                  <a:lnTo>
                    <a:pt x="1666875" y="376238"/>
                  </a:lnTo>
                  <a:cubicBezTo>
                    <a:pt x="1666875" y="168450"/>
                    <a:pt x="1498425" y="0"/>
                    <a:pt x="1290638" y="0"/>
                  </a:cubicBezTo>
                  <a:close/>
                  <a:moveTo>
                    <a:pt x="1524000" y="3119438"/>
                  </a:moveTo>
                  <a:cubicBezTo>
                    <a:pt x="1524000" y="3248320"/>
                    <a:pt x="1419520" y="3352800"/>
                    <a:pt x="1290638" y="3352800"/>
                  </a:cubicBezTo>
                  <a:lnTo>
                    <a:pt x="376238" y="3352800"/>
                  </a:lnTo>
                  <a:cubicBezTo>
                    <a:pt x="247355" y="3352800"/>
                    <a:pt x="142875" y="3248320"/>
                    <a:pt x="142875" y="3119438"/>
                  </a:cubicBezTo>
                  <a:lnTo>
                    <a:pt x="142875" y="376238"/>
                  </a:lnTo>
                  <a:cubicBezTo>
                    <a:pt x="142875" y="247355"/>
                    <a:pt x="247355" y="142875"/>
                    <a:pt x="376238" y="142875"/>
                  </a:cubicBezTo>
                  <a:lnTo>
                    <a:pt x="1290638" y="142875"/>
                  </a:lnTo>
                  <a:cubicBezTo>
                    <a:pt x="1419520" y="142875"/>
                    <a:pt x="1524000" y="247355"/>
                    <a:pt x="1524000" y="376238"/>
                  </a:cubicBezTo>
                  <a:lnTo>
                    <a:pt x="1524000" y="311943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B53DEDE9-C202-4A6E-9DE0-6B1D3C37C133}"/>
                </a:ext>
              </a:extLst>
            </p:cNvPr>
            <p:cNvSpPr/>
            <p:nvPr/>
          </p:nvSpPr>
          <p:spPr>
            <a:xfrm>
              <a:off x="5411787" y="4462463"/>
              <a:ext cx="142875" cy="152400"/>
            </a:xfrm>
            <a:custGeom>
              <a:avLst/>
              <a:gdLst>
                <a:gd name="connsiteX0" fmla="*/ 0 w 142875"/>
                <a:gd name="connsiteY0" fmla="*/ 0 h 152400"/>
                <a:gd name="connsiteX1" fmla="*/ 142875 w 142875"/>
                <a:gd name="connsiteY1" fmla="*/ 0 h 152400"/>
                <a:gd name="connsiteX2" fmla="*/ 142875 w 142875"/>
                <a:gd name="connsiteY2" fmla="*/ 152400 h 152400"/>
                <a:gd name="connsiteX3" fmla="*/ 0 w 142875"/>
                <a:gd name="connsiteY3" fmla="*/ 1524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2875" h="152400">
                  <a:moveTo>
                    <a:pt x="0" y="0"/>
                  </a:moveTo>
                  <a:lnTo>
                    <a:pt x="142875" y="0"/>
                  </a:lnTo>
                  <a:lnTo>
                    <a:pt x="142875" y="152400"/>
                  </a:lnTo>
                  <a:lnTo>
                    <a:pt x="0" y="15240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AA79AA51-3F9D-4122-82A9-68FCBB1F92BF}"/>
                </a:ext>
              </a:extLst>
            </p:cNvPr>
            <p:cNvSpPr/>
            <p:nvPr/>
          </p:nvSpPr>
          <p:spPr>
            <a:xfrm>
              <a:off x="5411787" y="1566863"/>
              <a:ext cx="1057275" cy="3048000"/>
            </a:xfrm>
            <a:custGeom>
              <a:avLst/>
              <a:gdLst>
                <a:gd name="connsiteX0" fmla="*/ 914400 w 1057275"/>
                <a:gd name="connsiteY0" fmla="*/ 381000 h 3048000"/>
                <a:gd name="connsiteX1" fmla="*/ 914400 w 1057275"/>
                <a:gd name="connsiteY1" fmla="*/ 589531 h 3048000"/>
                <a:gd name="connsiteX2" fmla="*/ 752475 w 1057275"/>
                <a:gd name="connsiteY2" fmla="*/ 427606 h 3048000"/>
                <a:gd name="connsiteX3" fmla="*/ 752475 w 1057275"/>
                <a:gd name="connsiteY3" fmla="*/ 0 h 3048000"/>
                <a:gd name="connsiteX4" fmla="*/ 609600 w 1057275"/>
                <a:gd name="connsiteY4" fmla="*/ 0 h 3048000"/>
                <a:gd name="connsiteX5" fmla="*/ 609600 w 1057275"/>
                <a:gd name="connsiteY5" fmla="*/ 122806 h 3048000"/>
                <a:gd name="connsiteX6" fmla="*/ 447675 w 1057275"/>
                <a:gd name="connsiteY6" fmla="*/ 284731 h 3048000"/>
                <a:gd name="connsiteX7" fmla="*/ 447675 w 1057275"/>
                <a:gd name="connsiteY7" fmla="*/ 0 h 3048000"/>
                <a:gd name="connsiteX8" fmla="*/ 304800 w 1057275"/>
                <a:gd name="connsiteY8" fmla="*/ 0 h 3048000"/>
                <a:gd name="connsiteX9" fmla="*/ 304800 w 1057275"/>
                <a:gd name="connsiteY9" fmla="*/ 589531 h 3048000"/>
                <a:gd name="connsiteX10" fmla="*/ 142875 w 1057275"/>
                <a:gd name="connsiteY10" fmla="*/ 427606 h 3048000"/>
                <a:gd name="connsiteX11" fmla="*/ 142875 w 1057275"/>
                <a:gd name="connsiteY11" fmla="*/ 0 h 3048000"/>
                <a:gd name="connsiteX12" fmla="*/ 0 w 1057275"/>
                <a:gd name="connsiteY12" fmla="*/ 0 h 3048000"/>
                <a:gd name="connsiteX13" fmla="*/ 0 w 1057275"/>
                <a:gd name="connsiteY13" fmla="*/ 2667000 h 3048000"/>
                <a:gd name="connsiteX14" fmla="*/ 142875 w 1057275"/>
                <a:gd name="connsiteY14" fmla="*/ 2667000 h 3048000"/>
                <a:gd name="connsiteX15" fmla="*/ 142875 w 1057275"/>
                <a:gd name="connsiteY15" fmla="*/ 2458469 h 3048000"/>
                <a:gd name="connsiteX16" fmla="*/ 304800 w 1057275"/>
                <a:gd name="connsiteY16" fmla="*/ 2620394 h 3048000"/>
                <a:gd name="connsiteX17" fmla="*/ 304800 w 1057275"/>
                <a:gd name="connsiteY17" fmla="*/ 3048000 h 3048000"/>
                <a:gd name="connsiteX18" fmla="*/ 447675 w 1057275"/>
                <a:gd name="connsiteY18" fmla="*/ 3048000 h 3048000"/>
                <a:gd name="connsiteX19" fmla="*/ 447675 w 1057275"/>
                <a:gd name="connsiteY19" fmla="*/ 2925194 h 3048000"/>
                <a:gd name="connsiteX20" fmla="*/ 609600 w 1057275"/>
                <a:gd name="connsiteY20" fmla="*/ 2763269 h 3048000"/>
                <a:gd name="connsiteX21" fmla="*/ 609600 w 1057275"/>
                <a:gd name="connsiteY21" fmla="*/ 3048000 h 3048000"/>
                <a:gd name="connsiteX22" fmla="*/ 752475 w 1057275"/>
                <a:gd name="connsiteY22" fmla="*/ 3048000 h 3048000"/>
                <a:gd name="connsiteX23" fmla="*/ 752475 w 1057275"/>
                <a:gd name="connsiteY23" fmla="*/ 2458469 h 3048000"/>
                <a:gd name="connsiteX24" fmla="*/ 914400 w 1057275"/>
                <a:gd name="connsiteY24" fmla="*/ 2620394 h 3048000"/>
                <a:gd name="connsiteX25" fmla="*/ 914400 w 1057275"/>
                <a:gd name="connsiteY25" fmla="*/ 3048000 h 3048000"/>
                <a:gd name="connsiteX26" fmla="*/ 1057275 w 1057275"/>
                <a:gd name="connsiteY26" fmla="*/ 3048000 h 3048000"/>
                <a:gd name="connsiteX27" fmla="*/ 1057275 w 1057275"/>
                <a:gd name="connsiteY27" fmla="*/ 381000 h 3048000"/>
                <a:gd name="connsiteX28" fmla="*/ 914400 w 1057275"/>
                <a:gd name="connsiteY28" fmla="*/ 381000 h 3048000"/>
                <a:gd name="connsiteX29" fmla="*/ 304800 w 1057275"/>
                <a:gd name="connsiteY29" fmla="*/ 2418331 h 3048000"/>
                <a:gd name="connsiteX30" fmla="*/ 142875 w 1057275"/>
                <a:gd name="connsiteY30" fmla="*/ 2256406 h 3048000"/>
                <a:gd name="connsiteX31" fmla="*/ 142875 w 1057275"/>
                <a:gd name="connsiteY31" fmla="*/ 1848869 h 3048000"/>
                <a:gd name="connsiteX32" fmla="*/ 304800 w 1057275"/>
                <a:gd name="connsiteY32" fmla="*/ 2010794 h 3048000"/>
                <a:gd name="connsiteX33" fmla="*/ 304800 w 1057275"/>
                <a:gd name="connsiteY33" fmla="*/ 2418331 h 3048000"/>
                <a:gd name="connsiteX34" fmla="*/ 304800 w 1057275"/>
                <a:gd name="connsiteY34" fmla="*/ 1808731 h 3048000"/>
                <a:gd name="connsiteX35" fmla="*/ 142875 w 1057275"/>
                <a:gd name="connsiteY35" fmla="*/ 1646806 h 3048000"/>
                <a:gd name="connsiteX36" fmla="*/ 142875 w 1057275"/>
                <a:gd name="connsiteY36" fmla="*/ 1239269 h 3048000"/>
                <a:gd name="connsiteX37" fmla="*/ 304800 w 1057275"/>
                <a:gd name="connsiteY37" fmla="*/ 1401194 h 3048000"/>
                <a:gd name="connsiteX38" fmla="*/ 304800 w 1057275"/>
                <a:gd name="connsiteY38" fmla="*/ 1808731 h 3048000"/>
                <a:gd name="connsiteX39" fmla="*/ 304800 w 1057275"/>
                <a:gd name="connsiteY39" fmla="*/ 1199131 h 3048000"/>
                <a:gd name="connsiteX40" fmla="*/ 142875 w 1057275"/>
                <a:gd name="connsiteY40" fmla="*/ 1037206 h 3048000"/>
                <a:gd name="connsiteX41" fmla="*/ 142875 w 1057275"/>
                <a:gd name="connsiteY41" fmla="*/ 629669 h 3048000"/>
                <a:gd name="connsiteX42" fmla="*/ 304800 w 1057275"/>
                <a:gd name="connsiteY42" fmla="*/ 791594 h 3048000"/>
                <a:gd name="connsiteX43" fmla="*/ 304800 w 1057275"/>
                <a:gd name="connsiteY43" fmla="*/ 1199131 h 3048000"/>
                <a:gd name="connsiteX44" fmla="*/ 609600 w 1057275"/>
                <a:gd name="connsiteY44" fmla="*/ 2561206 h 3048000"/>
                <a:gd name="connsiteX45" fmla="*/ 447675 w 1057275"/>
                <a:gd name="connsiteY45" fmla="*/ 2723131 h 3048000"/>
                <a:gd name="connsiteX46" fmla="*/ 447675 w 1057275"/>
                <a:gd name="connsiteY46" fmla="*/ 2315594 h 3048000"/>
                <a:gd name="connsiteX47" fmla="*/ 609600 w 1057275"/>
                <a:gd name="connsiteY47" fmla="*/ 2153669 h 3048000"/>
                <a:gd name="connsiteX48" fmla="*/ 609600 w 1057275"/>
                <a:gd name="connsiteY48" fmla="*/ 2561206 h 3048000"/>
                <a:gd name="connsiteX49" fmla="*/ 609600 w 1057275"/>
                <a:gd name="connsiteY49" fmla="*/ 1951606 h 3048000"/>
                <a:gd name="connsiteX50" fmla="*/ 447675 w 1057275"/>
                <a:gd name="connsiteY50" fmla="*/ 2113531 h 3048000"/>
                <a:gd name="connsiteX51" fmla="*/ 447675 w 1057275"/>
                <a:gd name="connsiteY51" fmla="*/ 1705994 h 3048000"/>
                <a:gd name="connsiteX52" fmla="*/ 609600 w 1057275"/>
                <a:gd name="connsiteY52" fmla="*/ 1544069 h 3048000"/>
                <a:gd name="connsiteX53" fmla="*/ 609600 w 1057275"/>
                <a:gd name="connsiteY53" fmla="*/ 1951606 h 3048000"/>
                <a:gd name="connsiteX54" fmla="*/ 609600 w 1057275"/>
                <a:gd name="connsiteY54" fmla="*/ 1342006 h 3048000"/>
                <a:gd name="connsiteX55" fmla="*/ 447675 w 1057275"/>
                <a:gd name="connsiteY55" fmla="*/ 1503931 h 3048000"/>
                <a:gd name="connsiteX56" fmla="*/ 447675 w 1057275"/>
                <a:gd name="connsiteY56" fmla="*/ 1096394 h 3048000"/>
                <a:gd name="connsiteX57" fmla="*/ 609600 w 1057275"/>
                <a:gd name="connsiteY57" fmla="*/ 934469 h 3048000"/>
                <a:gd name="connsiteX58" fmla="*/ 609600 w 1057275"/>
                <a:gd name="connsiteY58" fmla="*/ 1342006 h 3048000"/>
                <a:gd name="connsiteX59" fmla="*/ 609600 w 1057275"/>
                <a:gd name="connsiteY59" fmla="*/ 732406 h 3048000"/>
                <a:gd name="connsiteX60" fmla="*/ 447675 w 1057275"/>
                <a:gd name="connsiteY60" fmla="*/ 894331 h 3048000"/>
                <a:gd name="connsiteX61" fmla="*/ 447675 w 1057275"/>
                <a:gd name="connsiteY61" fmla="*/ 486794 h 3048000"/>
                <a:gd name="connsiteX62" fmla="*/ 609600 w 1057275"/>
                <a:gd name="connsiteY62" fmla="*/ 324869 h 3048000"/>
                <a:gd name="connsiteX63" fmla="*/ 609600 w 1057275"/>
                <a:gd name="connsiteY63" fmla="*/ 732406 h 3048000"/>
                <a:gd name="connsiteX64" fmla="*/ 914400 w 1057275"/>
                <a:gd name="connsiteY64" fmla="*/ 2418331 h 3048000"/>
                <a:gd name="connsiteX65" fmla="*/ 752475 w 1057275"/>
                <a:gd name="connsiteY65" fmla="*/ 2256406 h 3048000"/>
                <a:gd name="connsiteX66" fmla="*/ 752475 w 1057275"/>
                <a:gd name="connsiteY66" fmla="*/ 1848869 h 3048000"/>
                <a:gd name="connsiteX67" fmla="*/ 914400 w 1057275"/>
                <a:gd name="connsiteY67" fmla="*/ 2010794 h 3048000"/>
                <a:gd name="connsiteX68" fmla="*/ 914400 w 1057275"/>
                <a:gd name="connsiteY68" fmla="*/ 2418331 h 3048000"/>
                <a:gd name="connsiteX69" fmla="*/ 914400 w 1057275"/>
                <a:gd name="connsiteY69" fmla="*/ 1808731 h 3048000"/>
                <a:gd name="connsiteX70" fmla="*/ 752475 w 1057275"/>
                <a:gd name="connsiteY70" fmla="*/ 1646806 h 3048000"/>
                <a:gd name="connsiteX71" fmla="*/ 752475 w 1057275"/>
                <a:gd name="connsiteY71" fmla="*/ 1239269 h 3048000"/>
                <a:gd name="connsiteX72" fmla="*/ 914400 w 1057275"/>
                <a:gd name="connsiteY72" fmla="*/ 1401194 h 3048000"/>
                <a:gd name="connsiteX73" fmla="*/ 914400 w 1057275"/>
                <a:gd name="connsiteY73" fmla="*/ 1808731 h 3048000"/>
                <a:gd name="connsiteX74" fmla="*/ 914400 w 1057275"/>
                <a:gd name="connsiteY74" fmla="*/ 1199131 h 3048000"/>
                <a:gd name="connsiteX75" fmla="*/ 752475 w 1057275"/>
                <a:gd name="connsiteY75" fmla="*/ 1037206 h 3048000"/>
                <a:gd name="connsiteX76" fmla="*/ 752475 w 1057275"/>
                <a:gd name="connsiteY76" fmla="*/ 629669 h 3048000"/>
                <a:gd name="connsiteX77" fmla="*/ 914400 w 1057275"/>
                <a:gd name="connsiteY77" fmla="*/ 791594 h 3048000"/>
                <a:gd name="connsiteX78" fmla="*/ 914400 w 1057275"/>
                <a:gd name="connsiteY78" fmla="*/ 1199131 h 304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1057275" h="3048000">
                  <a:moveTo>
                    <a:pt x="914400" y="381000"/>
                  </a:moveTo>
                  <a:lnTo>
                    <a:pt x="914400" y="589531"/>
                  </a:lnTo>
                  <a:lnTo>
                    <a:pt x="752475" y="427606"/>
                  </a:lnTo>
                  <a:lnTo>
                    <a:pt x="752475" y="0"/>
                  </a:lnTo>
                  <a:lnTo>
                    <a:pt x="609600" y="0"/>
                  </a:lnTo>
                  <a:lnTo>
                    <a:pt x="609600" y="122806"/>
                  </a:lnTo>
                  <a:lnTo>
                    <a:pt x="447675" y="284731"/>
                  </a:lnTo>
                  <a:lnTo>
                    <a:pt x="447675" y="0"/>
                  </a:lnTo>
                  <a:lnTo>
                    <a:pt x="304800" y="0"/>
                  </a:lnTo>
                  <a:lnTo>
                    <a:pt x="304800" y="589531"/>
                  </a:lnTo>
                  <a:lnTo>
                    <a:pt x="142875" y="427606"/>
                  </a:lnTo>
                  <a:lnTo>
                    <a:pt x="142875" y="0"/>
                  </a:lnTo>
                  <a:lnTo>
                    <a:pt x="0" y="0"/>
                  </a:lnTo>
                  <a:lnTo>
                    <a:pt x="0" y="2667000"/>
                  </a:lnTo>
                  <a:lnTo>
                    <a:pt x="142875" y="2667000"/>
                  </a:lnTo>
                  <a:lnTo>
                    <a:pt x="142875" y="2458469"/>
                  </a:lnTo>
                  <a:lnTo>
                    <a:pt x="304800" y="2620394"/>
                  </a:lnTo>
                  <a:lnTo>
                    <a:pt x="304800" y="3048000"/>
                  </a:lnTo>
                  <a:lnTo>
                    <a:pt x="447675" y="3048000"/>
                  </a:lnTo>
                  <a:lnTo>
                    <a:pt x="447675" y="2925194"/>
                  </a:lnTo>
                  <a:lnTo>
                    <a:pt x="609600" y="2763269"/>
                  </a:lnTo>
                  <a:lnTo>
                    <a:pt x="609600" y="3048000"/>
                  </a:lnTo>
                  <a:lnTo>
                    <a:pt x="752475" y="3048000"/>
                  </a:lnTo>
                  <a:lnTo>
                    <a:pt x="752475" y="2458469"/>
                  </a:lnTo>
                  <a:lnTo>
                    <a:pt x="914400" y="2620394"/>
                  </a:lnTo>
                  <a:lnTo>
                    <a:pt x="914400" y="3048000"/>
                  </a:lnTo>
                  <a:lnTo>
                    <a:pt x="1057275" y="3048000"/>
                  </a:lnTo>
                  <a:lnTo>
                    <a:pt x="1057275" y="381000"/>
                  </a:lnTo>
                  <a:lnTo>
                    <a:pt x="914400" y="381000"/>
                  </a:lnTo>
                  <a:close/>
                  <a:moveTo>
                    <a:pt x="304800" y="2418331"/>
                  </a:moveTo>
                  <a:lnTo>
                    <a:pt x="142875" y="2256406"/>
                  </a:lnTo>
                  <a:lnTo>
                    <a:pt x="142875" y="1848869"/>
                  </a:lnTo>
                  <a:lnTo>
                    <a:pt x="304800" y="2010794"/>
                  </a:lnTo>
                  <a:lnTo>
                    <a:pt x="304800" y="2418331"/>
                  </a:lnTo>
                  <a:close/>
                  <a:moveTo>
                    <a:pt x="304800" y="1808731"/>
                  </a:moveTo>
                  <a:lnTo>
                    <a:pt x="142875" y="1646806"/>
                  </a:lnTo>
                  <a:lnTo>
                    <a:pt x="142875" y="1239269"/>
                  </a:lnTo>
                  <a:lnTo>
                    <a:pt x="304800" y="1401194"/>
                  </a:lnTo>
                  <a:lnTo>
                    <a:pt x="304800" y="1808731"/>
                  </a:lnTo>
                  <a:close/>
                  <a:moveTo>
                    <a:pt x="304800" y="1199131"/>
                  </a:moveTo>
                  <a:lnTo>
                    <a:pt x="142875" y="1037206"/>
                  </a:lnTo>
                  <a:lnTo>
                    <a:pt x="142875" y="629669"/>
                  </a:lnTo>
                  <a:lnTo>
                    <a:pt x="304800" y="791594"/>
                  </a:lnTo>
                  <a:lnTo>
                    <a:pt x="304800" y="1199131"/>
                  </a:lnTo>
                  <a:close/>
                  <a:moveTo>
                    <a:pt x="609600" y="2561206"/>
                  </a:moveTo>
                  <a:lnTo>
                    <a:pt x="447675" y="2723131"/>
                  </a:lnTo>
                  <a:lnTo>
                    <a:pt x="447675" y="2315594"/>
                  </a:lnTo>
                  <a:lnTo>
                    <a:pt x="609600" y="2153669"/>
                  </a:lnTo>
                  <a:lnTo>
                    <a:pt x="609600" y="2561206"/>
                  </a:lnTo>
                  <a:close/>
                  <a:moveTo>
                    <a:pt x="609600" y="1951606"/>
                  </a:moveTo>
                  <a:lnTo>
                    <a:pt x="447675" y="2113531"/>
                  </a:lnTo>
                  <a:lnTo>
                    <a:pt x="447675" y="1705994"/>
                  </a:lnTo>
                  <a:lnTo>
                    <a:pt x="609600" y="1544069"/>
                  </a:lnTo>
                  <a:lnTo>
                    <a:pt x="609600" y="1951606"/>
                  </a:lnTo>
                  <a:close/>
                  <a:moveTo>
                    <a:pt x="609600" y="1342006"/>
                  </a:moveTo>
                  <a:lnTo>
                    <a:pt x="447675" y="1503931"/>
                  </a:lnTo>
                  <a:lnTo>
                    <a:pt x="447675" y="1096394"/>
                  </a:lnTo>
                  <a:lnTo>
                    <a:pt x="609600" y="934469"/>
                  </a:lnTo>
                  <a:lnTo>
                    <a:pt x="609600" y="1342006"/>
                  </a:lnTo>
                  <a:close/>
                  <a:moveTo>
                    <a:pt x="609600" y="732406"/>
                  </a:moveTo>
                  <a:lnTo>
                    <a:pt x="447675" y="894331"/>
                  </a:lnTo>
                  <a:lnTo>
                    <a:pt x="447675" y="486794"/>
                  </a:lnTo>
                  <a:lnTo>
                    <a:pt x="609600" y="324869"/>
                  </a:lnTo>
                  <a:lnTo>
                    <a:pt x="609600" y="732406"/>
                  </a:lnTo>
                  <a:close/>
                  <a:moveTo>
                    <a:pt x="914400" y="2418331"/>
                  </a:moveTo>
                  <a:lnTo>
                    <a:pt x="752475" y="2256406"/>
                  </a:lnTo>
                  <a:lnTo>
                    <a:pt x="752475" y="1848869"/>
                  </a:lnTo>
                  <a:lnTo>
                    <a:pt x="914400" y="2010794"/>
                  </a:lnTo>
                  <a:lnTo>
                    <a:pt x="914400" y="2418331"/>
                  </a:lnTo>
                  <a:close/>
                  <a:moveTo>
                    <a:pt x="914400" y="1808731"/>
                  </a:moveTo>
                  <a:lnTo>
                    <a:pt x="752475" y="1646806"/>
                  </a:lnTo>
                  <a:lnTo>
                    <a:pt x="752475" y="1239269"/>
                  </a:lnTo>
                  <a:lnTo>
                    <a:pt x="914400" y="1401194"/>
                  </a:lnTo>
                  <a:lnTo>
                    <a:pt x="914400" y="1808731"/>
                  </a:lnTo>
                  <a:close/>
                  <a:moveTo>
                    <a:pt x="914400" y="1199131"/>
                  </a:moveTo>
                  <a:lnTo>
                    <a:pt x="752475" y="1037206"/>
                  </a:lnTo>
                  <a:lnTo>
                    <a:pt x="752475" y="629669"/>
                  </a:lnTo>
                  <a:lnTo>
                    <a:pt x="914400" y="791594"/>
                  </a:lnTo>
                  <a:lnTo>
                    <a:pt x="914400" y="119913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9231813-60A8-4EC7-ADE8-2CEB9B689EF2}"/>
                </a:ext>
              </a:extLst>
            </p:cNvPr>
            <p:cNvSpPr/>
            <p:nvPr/>
          </p:nvSpPr>
          <p:spPr>
            <a:xfrm>
              <a:off x="6326187" y="1566863"/>
              <a:ext cx="142875" cy="152400"/>
            </a:xfrm>
            <a:custGeom>
              <a:avLst/>
              <a:gdLst>
                <a:gd name="connsiteX0" fmla="*/ 0 w 142875"/>
                <a:gd name="connsiteY0" fmla="*/ 0 h 152400"/>
                <a:gd name="connsiteX1" fmla="*/ 142875 w 142875"/>
                <a:gd name="connsiteY1" fmla="*/ 0 h 152400"/>
                <a:gd name="connsiteX2" fmla="*/ 142875 w 142875"/>
                <a:gd name="connsiteY2" fmla="*/ 152400 h 152400"/>
                <a:gd name="connsiteX3" fmla="*/ 0 w 142875"/>
                <a:gd name="connsiteY3" fmla="*/ 1524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2875" h="152400">
                  <a:moveTo>
                    <a:pt x="0" y="0"/>
                  </a:moveTo>
                  <a:lnTo>
                    <a:pt x="142875" y="0"/>
                  </a:lnTo>
                  <a:lnTo>
                    <a:pt x="142875" y="152400"/>
                  </a:lnTo>
                  <a:lnTo>
                    <a:pt x="0" y="15240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EABB37D-666E-495C-8346-72E8D373DDB6}"/>
              </a:ext>
            </a:extLst>
          </p:cNvPr>
          <p:cNvCxnSpPr>
            <a:stCxn id="24" idx="6"/>
            <a:endCxn id="28" idx="21"/>
          </p:cNvCxnSpPr>
          <p:nvPr/>
        </p:nvCxnSpPr>
        <p:spPr>
          <a:xfrm flipV="1">
            <a:off x="3453342" y="2665902"/>
            <a:ext cx="213282" cy="7671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" name="Group 31">
            <a:extLst>
              <a:ext uri="{FF2B5EF4-FFF2-40B4-BE49-F238E27FC236}">
                <a16:creationId xmlns:a16="http://schemas.microsoft.com/office/drawing/2014/main" id="{54199DEB-D8C0-4BAD-A5B1-2C908658E1F6}"/>
              </a:ext>
            </a:extLst>
          </p:cNvPr>
          <p:cNvGrpSpPr/>
          <p:nvPr/>
        </p:nvGrpSpPr>
        <p:grpSpPr>
          <a:xfrm rot="4687937">
            <a:off x="6254259" y="2399816"/>
            <a:ext cx="249065" cy="507978"/>
            <a:chOff x="5106987" y="1347788"/>
            <a:chExt cx="1666875" cy="3495675"/>
          </a:xfrm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B694E560-C3C8-4A97-AEAC-86383E7BAF66}"/>
                </a:ext>
              </a:extLst>
            </p:cNvPr>
            <p:cNvSpPr/>
            <p:nvPr/>
          </p:nvSpPr>
          <p:spPr>
            <a:xfrm>
              <a:off x="5106987" y="1347788"/>
              <a:ext cx="1666875" cy="3495675"/>
            </a:xfrm>
            <a:custGeom>
              <a:avLst/>
              <a:gdLst>
                <a:gd name="connsiteX0" fmla="*/ 1290638 w 1666875"/>
                <a:gd name="connsiteY0" fmla="*/ 0 h 3495675"/>
                <a:gd name="connsiteX1" fmla="*/ 376238 w 1666875"/>
                <a:gd name="connsiteY1" fmla="*/ 0 h 3495675"/>
                <a:gd name="connsiteX2" fmla="*/ 0 w 1666875"/>
                <a:gd name="connsiteY2" fmla="*/ 376238 h 3495675"/>
                <a:gd name="connsiteX3" fmla="*/ 0 w 1666875"/>
                <a:gd name="connsiteY3" fmla="*/ 3119438 h 3495675"/>
                <a:gd name="connsiteX4" fmla="*/ 376238 w 1666875"/>
                <a:gd name="connsiteY4" fmla="*/ 3495675 h 3495675"/>
                <a:gd name="connsiteX5" fmla="*/ 1290638 w 1666875"/>
                <a:gd name="connsiteY5" fmla="*/ 3495675 h 3495675"/>
                <a:gd name="connsiteX6" fmla="*/ 1666875 w 1666875"/>
                <a:gd name="connsiteY6" fmla="*/ 3119438 h 3495675"/>
                <a:gd name="connsiteX7" fmla="*/ 1666875 w 1666875"/>
                <a:gd name="connsiteY7" fmla="*/ 376238 h 3495675"/>
                <a:gd name="connsiteX8" fmla="*/ 1290638 w 1666875"/>
                <a:gd name="connsiteY8" fmla="*/ 0 h 3495675"/>
                <a:gd name="connsiteX9" fmla="*/ 1524000 w 1666875"/>
                <a:gd name="connsiteY9" fmla="*/ 3119438 h 3495675"/>
                <a:gd name="connsiteX10" fmla="*/ 1290638 w 1666875"/>
                <a:gd name="connsiteY10" fmla="*/ 3352800 h 3495675"/>
                <a:gd name="connsiteX11" fmla="*/ 376238 w 1666875"/>
                <a:gd name="connsiteY11" fmla="*/ 3352800 h 3495675"/>
                <a:gd name="connsiteX12" fmla="*/ 142875 w 1666875"/>
                <a:gd name="connsiteY12" fmla="*/ 3119438 h 3495675"/>
                <a:gd name="connsiteX13" fmla="*/ 142875 w 1666875"/>
                <a:gd name="connsiteY13" fmla="*/ 376238 h 3495675"/>
                <a:gd name="connsiteX14" fmla="*/ 376238 w 1666875"/>
                <a:gd name="connsiteY14" fmla="*/ 142875 h 3495675"/>
                <a:gd name="connsiteX15" fmla="*/ 1290638 w 1666875"/>
                <a:gd name="connsiteY15" fmla="*/ 142875 h 3495675"/>
                <a:gd name="connsiteX16" fmla="*/ 1524000 w 1666875"/>
                <a:gd name="connsiteY16" fmla="*/ 376238 h 3495675"/>
                <a:gd name="connsiteX17" fmla="*/ 1524000 w 1666875"/>
                <a:gd name="connsiteY17" fmla="*/ 3119438 h 3495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66875" h="3495675">
                  <a:moveTo>
                    <a:pt x="1290638" y="0"/>
                  </a:moveTo>
                  <a:lnTo>
                    <a:pt x="376238" y="0"/>
                  </a:lnTo>
                  <a:cubicBezTo>
                    <a:pt x="168450" y="0"/>
                    <a:pt x="0" y="168450"/>
                    <a:pt x="0" y="376238"/>
                  </a:cubicBezTo>
                  <a:lnTo>
                    <a:pt x="0" y="3119438"/>
                  </a:lnTo>
                  <a:cubicBezTo>
                    <a:pt x="0" y="3327226"/>
                    <a:pt x="168450" y="3495675"/>
                    <a:pt x="376238" y="3495675"/>
                  </a:cubicBezTo>
                  <a:lnTo>
                    <a:pt x="1290638" y="3495675"/>
                  </a:lnTo>
                  <a:cubicBezTo>
                    <a:pt x="1498425" y="3495675"/>
                    <a:pt x="1666875" y="3327226"/>
                    <a:pt x="1666875" y="3119438"/>
                  </a:cubicBezTo>
                  <a:lnTo>
                    <a:pt x="1666875" y="376238"/>
                  </a:lnTo>
                  <a:cubicBezTo>
                    <a:pt x="1666875" y="168450"/>
                    <a:pt x="1498425" y="0"/>
                    <a:pt x="1290638" y="0"/>
                  </a:cubicBezTo>
                  <a:close/>
                  <a:moveTo>
                    <a:pt x="1524000" y="3119438"/>
                  </a:moveTo>
                  <a:cubicBezTo>
                    <a:pt x="1524000" y="3248320"/>
                    <a:pt x="1419520" y="3352800"/>
                    <a:pt x="1290638" y="3352800"/>
                  </a:cubicBezTo>
                  <a:lnTo>
                    <a:pt x="376238" y="3352800"/>
                  </a:lnTo>
                  <a:cubicBezTo>
                    <a:pt x="247355" y="3352800"/>
                    <a:pt x="142875" y="3248320"/>
                    <a:pt x="142875" y="3119438"/>
                  </a:cubicBezTo>
                  <a:lnTo>
                    <a:pt x="142875" y="376238"/>
                  </a:lnTo>
                  <a:cubicBezTo>
                    <a:pt x="142875" y="247355"/>
                    <a:pt x="247355" y="142875"/>
                    <a:pt x="376238" y="142875"/>
                  </a:cubicBezTo>
                  <a:lnTo>
                    <a:pt x="1290638" y="142875"/>
                  </a:lnTo>
                  <a:cubicBezTo>
                    <a:pt x="1419520" y="142875"/>
                    <a:pt x="1524000" y="247355"/>
                    <a:pt x="1524000" y="376238"/>
                  </a:cubicBezTo>
                  <a:lnTo>
                    <a:pt x="1524000" y="311943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D653202F-E4EE-4BB5-B9C0-329F33B1D247}"/>
                </a:ext>
              </a:extLst>
            </p:cNvPr>
            <p:cNvSpPr/>
            <p:nvPr/>
          </p:nvSpPr>
          <p:spPr>
            <a:xfrm>
              <a:off x="5411787" y="4462463"/>
              <a:ext cx="142875" cy="152400"/>
            </a:xfrm>
            <a:custGeom>
              <a:avLst/>
              <a:gdLst>
                <a:gd name="connsiteX0" fmla="*/ 0 w 142875"/>
                <a:gd name="connsiteY0" fmla="*/ 0 h 152400"/>
                <a:gd name="connsiteX1" fmla="*/ 142875 w 142875"/>
                <a:gd name="connsiteY1" fmla="*/ 0 h 152400"/>
                <a:gd name="connsiteX2" fmla="*/ 142875 w 142875"/>
                <a:gd name="connsiteY2" fmla="*/ 152400 h 152400"/>
                <a:gd name="connsiteX3" fmla="*/ 0 w 142875"/>
                <a:gd name="connsiteY3" fmla="*/ 1524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2875" h="152400">
                  <a:moveTo>
                    <a:pt x="0" y="0"/>
                  </a:moveTo>
                  <a:lnTo>
                    <a:pt x="142875" y="0"/>
                  </a:lnTo>
                  <a:lnTo>
                    <a:pt x="142875" y="152400"/>
                  </a:lnTo>
                  <a:lnTo>
                    <a:pt x="0" y="15240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72A0A8B6-38D5-4285-BA1E-2525C7C85BBF}"/>
                </a:ext>
              </a:extLst>
            </p:cNvPr>
            <p:cNvSpPr/>
            <p:nvPr/>
          </p:nvSpPr>
          <p:spPr>
            <a:xfrm>
              <a:off x="5411787" y="1566863"/>
              <a:ext cx="1057275" cy="3048000"/>
            </a:xfrm>
            <a:custGeom>
              <a:avLst/>
              <a:gdLst>
                <a:gd name="connsiteX0" fmla="*/ 914400 w 1057275"/>
                <a:gd name="connsiteY0" fmla="*/ 381000 h 3048000"/>
                <a:gd name="connsiteX1" fmla="*/ 914400 w 1057275"/>
                <a:gd name="connsiteY1" fmla="*/ 589531 h 3048000"/>
                <a:gd name="connsiteX2" fmla="*/ 752475 w 1057275"/>
                <a:gd name="connsiteY2" fmla="*/ 427606 h 3048000"/>
                <a:gd name="connsiteX3" fmla="*/ 752475 w 1057275"/>
                <a:gd name="connsiteY3" fmla="*/ 0 h 3048000"/>
                <a:gd name="connsiteX4" fmla="*/ 609600 w 1057275"/>
                <a:gd name="connsiteY4" fmla="*/ 0 h 3048000"/>
                <a:gd name="connsiteX5" fmla="*/ 609600 w 1057275"/>
                <a:gd name="connsiteY5" fmla="*/ 122806 h 3048000"/>
                <a:gd name="connsiteX6" fmla="*/ 447675 w 1057275"/>
                <a:gd name="connsiteY6" fmla="*/ 284731 h 3048000"/>
                <a:gd name="connsiteX7" fmla="*/ 447675 w 1057275"/>
                <a:gd name="connsiteY7" fmla="*/ 0 h 3048000"/>
                <a:gd name="connsiteX8" fmla="*/ 304800 w 1057275"/>
                <a:gd name="connsiteY8" fmla="*/ 0 h 3048000"/>
                <a:gd name="connsiteX9" fmla="*/ 304800 w 1057275"/>
                <a:gd name="connsiteY9" fmla="*/ 589531 h 3048000"/>
                <a:gd name="connsiteX10" fmla="*/ 142875 w 1057275"/>
                <a:gd name="connsiteY10" fmla="*/ 427606 h 3048000"/>
                <a:gd name="connsiteX11" fmla="*/ 142875 w 1057275"/>
                <a:gd name="connsiteY11" fmla="*/ 0 h 3048000"/>
                <a:gd name="connsiteX12" fmla="*/ 0 w 1057275"/>
                <a:gd name="connsiteY12" fmla="*/ 0 h 3048000"/>
                <a:gd name="connsiteX13" fmla="*/ 0 w 1057275"/>
                <a:gd name="connsiteY13" fmla="*/ 2667000 h 3048000"/>
                <a:gd name="connsiteX14" fmla="*/ 142875 w 1057275"/>
                <a:gd name="connsiteY14" fmla="*/ 2667000 h 3048000"/>
                <a:gd name="connsiteX15" fmla="*/ 142875 w 1057275"/>
                <a:gd name="connsiteY15" fmla="*/ 2458469 h 3048000"/>
                <a:gd name="connsiteX16" fmla="*/ 304800 w 1057275"/>
                <a:gd name="connsiteY16" fmla="*/ 2620394 h 3048000"/>
                <a:gd name="connsiteX17" fmla="*/ 304800 w 1057275"/>
                <a:gd name="connsiteY17" fmla="*/ 3048000 h 3048000"/>
                <a:gd name="connsiteX18" fmla="*/ 447675 w 1057275"/>
                <a:gd name="connsiteY18" fmla="*/ 3048000 h 3048000"/>
                <a:gd name="connsiteX19" fmla="*/ 447675 w 1057275"/>
                <a:gd name="connsiteY19" fmla="*/ 2925194 h 3048000"/>
                <a:gd name="connsiteX20" fmla="*/ 609600 w 1057275"/>
                <a:gd name="connsiteY20" fmla="*/ 2763269 h 3048000"/>
                <a:gd name="connsiteX21" fmla="*/ 609600 w 1057275"/>
                <a:gd name="connsiteY21" fmla="*/ 3048000 h 3048000"/>
                <a:gd name="connsiteX22" fmla="*/ 752475 w 1057275"/>
                <a:gd name="connsiteY22" fmla="*/ 3048000 h 3048000"/>
                <a:gd name="connsiteX23" fmla="*/ 752475 w 1057275"/>
                <a:gd name="connsiteY23" fmla="*/ 2458469 h 3048000"/>
                <a:gd name="connsiteX24" fmla="*/ 914400 w 1057275"/>
                <a:gd name="connsiteY24" fmla="*/ 2620394 h 3048000"/>
                <a:gd name="connsiteX25" fmla="*/ 914400 w 1057275"/>
                <a:gd name="connsiteY25" fmla="*/ 3048000 h 3048000"/>
                <a:gd name="connsiteX26" fmla="*/ 1057275 w 1057275"/>
                <a:gd name="connsiteY26" fmla="*/ 3048000 h 3048000"/>
                <a:gd name="connsiteX27" fmla="*/ 1057275 w 1057275"/>
                <a:gd name="connsiteY27" fmla="*/ 381000 h 3048000"/>
                <a:gd name="connsiteX28" fmla="*/ 914400 w 1057275"/>
                <a:gd name="connsiteY28" fmla="*/ 381000 h 3048000"/>
                <a:gd name="connsiteX29" fmla="*/ 304800 w 1057275"/>
                <a:gd name="connsiteY29" fmla="*/ 2418331 h 3048000"/>
                <a:gd name="connsiteX30" fmla="*/ 142875 w 1057275"/>
                <a:gd name="connsiteY30" fmla="*/ 2256406 h 3048000"/>
                <a:gd name="connsiteX31" fmla="*/ 142875 w 1057275"/>
                <a:gd name="connsiteY31" fmla="*/ 1848869 h 3048000"/>
                <a:gd name="connsiteX32" fmla="*/ 304800 w 1057275"/>
                <a:gd name="connsiteY32" fmla="*/ 2010794 h 3048000"/>
                <a:gd name="connsiteX33" fmla="*/ 304800 w 1057275"/>
                <a:gd name="connsiteY33" fmla="*/ 2418331 h 3048000"/>
                <a:gd name="connsiteX34" fmla="*/ 304800 w 1057275"/>
                <a:gd name="connsiteY34" fmla="*/ 1808731 h 3048000"/>
                <a:gd name="connsiteX35" fmla="*/ 142875 w 1057275"/>
                <a:gd name="connsiteY35" fmla="*/ 1646806 h 3048000"/>
                <a:gd name="connsiteX36" fmla="*/ 142875 w 1057275"/>
                <a:gd name="connsiteY36" fmla="*/ 1239269 h 3048000"/>
                <a:gd name="connsiteX37" fmla="*/ 304800 w 1057275"/>
                <a:gd name="connsiteY37" fmla="*/ 1401194 h 3048000"/>
                <a:gd name="connsiteX38" fmla="*/ 304800 w 1057275"/>
                <a:gd name="connsiteY38" fmla="*/ 1808731 h 3048000"/>
                <a:gd name="connsiteX39" fmla="*/ 304800 w 1057275"/>
                <a:gd name="connsiteY39" fmla="*/ 1199131 h 3048000"/>
                <a:gd name="connsiteX40" fmla="*/ 142875 w 1057275"/>
                <a:gd name="connsiteY40" fmla="*/ 1037206 h 3048000"/>
                <a:gd name="connsiteX41" fmla="*/ 142875 w 1057275"/>
                <a:gd name="connsiteY41" fmla="*/ 629669 h 3048000"/>
                <a:gd name="connsiteX42" fmla="*/ 304800 w 1057275"/>
                <a:gd name="connsiteY42" fmla="*/ 791594 h 3048000"/>
                <a:gd name="connsiteX43" fmla="*/ 304800 w 1057275"/>
                <a:gd name="connsiteY43" fmla="*/ 1199131 h 3048000"/>
                <a:gd name="connsiteX44" fmla="*/ 609600 w 1057275"/>
                <a:gd name="connsiteY44" fmla="*/ 2561206 h 3048000"/>
                <a:gd name="connsiteX45" fmla="*/ 447675 w 1057275"/>
                <a:gd name="connsiteY45" fmla="*/ 2723131 h 3048000"/>
                <a:gd name="connsiteX46" fmla="*/ 447675 w 1057275"/>
                <a:gd name="connsiteY46" fmla="*/ 2315594 h 3048000"/>
                <a:gd name="connsiteX47" fmla="*/ 609600 w 1057275"/>
                <a:gd name="connsiteY47" fmla="*/ 2153669 h 3048000"/>
                <a:gd name="connsiteX48" fmla="*/ 609600 w 1057275"/>
                <a:gd name="connsiteY48" fmla="*/ 2561206 h 3048000"/>
                <a:gd name="connsiteX49" fmla="*/ 609600 w 1057275"/>
                <a:gd name="connsiteY49" fmla="*/ 1951606 h 3048000"/>
                <a:gd name="connsiteX50" fmla="*/ 447675 w 1057275"/>
                <a:gd name="connsiteY50" fmla="*/ 2113531 h 3048000"/>
                <a:gd name="connsiteX51" fmla="*/ 447675 w 1057275"/>
                <a:gd name="connsiteY51" fmla="*/ 1705994 h 3048000"/>
                <a:gd name="connsiteX52" fmla="*/ 609600 w 1057275"/>
                <a:gd name="connsiteY52" fmla="*/ 1544069 h 3048000"/>
                <a:gd name="connsiteX53" fmla="*/ 609600 w 1057275"/>
                <a:gd name="connsiteY53" fmla="*/ 1951606 h 3048000"/>
                <a:gd name="connsiteX54" fmla="*/ 609600 w 1057275"/>
                <a:gd name="connsiteY54" fmla="*/ 1342006 h 3048000"/>
                <a:gd name="connsiteX55" fmla="*/ 447675 w 1057275"/>
                <a:gd name="connsiteY55" fmla="*/ 1503931 h 3048000"/>
                <a:gd name="connsiteX56" fmla="*/ 447675 w 1057275"/>
                <a:gd name="connsiteY56" fmla="*/ 1096394 h 3048000"/>
                <a:gd name="connsiteX57" fmla="*/ 609600 w 1057275"/>
                <a:gd name="connsiteY57" fmla="*/ 934469 h 3048000"/>
                <a:gd name="connsiteX58" fmla="*/ 609600 w 1057275"/>
                <a:gd name="connsiteY58" fmla="*/ 1342006 h 3048000"/>
                <a:gd name="connsiteX59" fmla="*/ 609600 w 1057275"/>
                <a:gd name="connsiteY59" fmla="*/ 732406 h 3048000"/>
                <a:gd name="connsiteX60" fmla="*/ 447675 w 1057275"/>
                <a:gd name="connsiteY60" fmla="*/ 894331 h 3048000"/>
                <a:gd name="connsiteX61" fmla="*/ 447675 w 1057275"/>
                <a:gd name="connsiteY61" fmla="*/ 486794 h 3048000"/>
                <a:gd name="connsiteX62" fmla="*/ 609600 w 1057275"/>
                <a:gd name="connsiteY62" fmla="*/ 324869 h 3048000"/>
                <a:gd name="connsiteX63" fmla="*/ 609600 w 1057275"/>
                <a:gd name="connsiteY63" fmla="*/ 732406 h 3048000"/>
                <a:gd name="connsiteX64" fmla="*/ 914400 w 1057275"/>
                <a:gd name="connsiteY64" fmla="*/ 2418331 h 3048000"/>
                <a:gd name="connsiteX65" fmla="*/ 752475 w 1057275"/>
                <a:gd name="connsiteY65" fmla="*/ 2256406 h 3048000"/>
                <a:gd name="connsiteX66" fmla="*/ 752475 w 1057275"/>
                <a:gd name="connsiteY66" fmla="*/ 1848869 h 3048000"/>
                <a:gd name="connsiteX67" fmla="*/ 914400 w 1057275"/>
                <a:gd name="connsiteY67" fmla="*/ 2010794 h 3048000"/>
                <a:gd name="connsiteX68" fmla="*/ 914400 w 1057275"/>
                <a:gd name="connsiteY68" fmla="*/ 2418331 h 3048000"/>
                <a:gd name="connsiteX69" fmla="*/ 914400 w 1057275"/>
                <a:gd name="connsiteY69" fmla="*/ 1808731 h 3048000"/>
                <a:gd name="connsiteX70" fmla="*/ 752475 w 1057275"/>
                <a:gd name="connsiteY70" fmla="*/ 1646806 h 3048000"/>
                <a:gd name="connsiteX71" fmla="*/ 752475 w 1057275"/>
                <a:gd name="connsiteY71" fmla="*/ 1239269 h 3048000"/>
                <a:gd name="connsiteX72" fmla="*/ 914400 w 1057275"/>
                <a:gd name="connsiteY72" fmla="*/ 1401194 h 3048000"/>
                <a:gd name="connsiteX73" fmla="*/ 914400 w 1057275"/>
                <a:gd name="connsiteY73" fmla="*/ 1808731 h 3048000"/>
                <a:gd name="connsiteX74" fmla="*/ 914400 w 1057275"/>
                <a:gd name="connsiteY74" fmla="*/ 1199131 h 3048000"/>
                <a:gd name="connsiteX75" fmla="*/ 752475 w 1057275"/>
                <a:gd name="connsiteY75" fmla="*/ 1037206 h 3048000"/>
                <a:gd name="connsiteX76" fmla="*/ 752475 w 1057275"/>
                <a:gd name="connsiteY76" fmla="*/ 629669 h 3048000"/>
                <a:gd name="connsiteX77" fmla="*/ 914400 w 1057275"/>
                <a:gd name="connsiteY77" fmla="*/ 791594 h 3048000"/>
                <a:gd name="connsiteX78" fmla="*/ 914400 w 1057275"/>
                <a:gd name="connsiteY78" fmla="*/ 1199131 h 304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1057275" h="3048000">
                  <a:moveTo>
                    <a:pt x="914400" y="381000"/>
                  </a:moveTo>
                  <a:lnTo>
                    <a:pt x="914400" y="589531"/>
                  </a:lnTo>
                  <a:lnTo>
                    <a:pt x="752475" y="427606"/>
                  </a:lnTo>
                  <a:lnTo>
                    <a:pt x="752475" y="0"/>
                  </a:lnTo>
                  <a:lnTo>
                    <a:pt x="609600" y="0"/>
                  </a:lnTo>
                  <a:lnTo>
                    <a:pt x="609600" y="122806"/>
                  </a:lnTo>
                  <a:lnTo>
                    <a:pt x="447675" y="284731"/>
                  </a:lnTo>
                  <a:lnTo>
                    <a:pt x="447675" y="0"/>
                  </a:lnTo>
                  <a:lnTo>
                    <a:pt x="304800" y="0"/>
                  </a:lnTo>
                  <a:lnTo>
                    <a:pt x="304800" y="589531"/>
                  </a:lnTo>
                  <a:lnTo>
                    <a:pt x="142875" y="427606"/>
                  </a:lnTo>
                  <a:lnTo>
                    <a:pt x="142875" y="0"/>
                  </a:lnTo>
                  <a:lnTo>
                    <a:pt x="0" y="0"/>
                  </a:lnTo>
                  <a:lnTo>
                    <a:pt x="0" y="2667000"/>
                  </a:lnTo>
                  <a:lnTo>
                    <a:pt x="142875" y="2667000"/>
                  </a:lnTo>
                  <a:lnTo>
                    <a:pt x="142875" y="2458469"/>
                  </a:lnTo>
                  <a:lnTo>
                    <a:pt x="304800" y="2620394"/>
                  </a:lnTo>
                  <a:lnTo>
                    <a:pt x="304800" y="3048000"/>
                  </a:lnTo>
                  <a:lnTo>
                    <a:pt x="447675" y="3048000"/>
                  </a:lnTo>
                  <a:lnTo>
                    <a:pt x="447675" y="2925194"/>
                  </a:lnTo>
                  <a:lnTo>
                    <a:pt x="609600" y="2763269"/>
                  </a:lnTo>
                  <a:lnTo>
                    <a:pt x="609600" y="3048000"/>
                  </a:lnTo>
                  <a:lnTo>
                    <a:pt x="752475" y="3048000"/>
                  </a:lnTo>
                  <a:lnTo>
                    <a:pt x="752475" y="2458469"/>
                  </a:lnTo>
                  <a:lnTo>
                    <a:pt x="914400" y="2620394"/>
                  </a:lnTo>
                  <a:lnTo>
                    <a:pt x="914400" y="3048000"/>
                  </a:lnTo>
                  <a:lnTo>
                    <a:pt x="1057275" y="3048000"/>
                  </a:lnTo>
                  <a:lnTo>
                    <a:pt x="1057275" y="381000"/>
                  </a:lnTo>
                  <a:lnTo>
                    <a:pt x="914400" y="381000"/>
                  </a:lnTo>
                  <a:close/>
                  <a:moveTo>
                    <a:pt x="304800" y="2418331"/>
                  </a:moveTo>
                  <a:lnTo>
                    <a:pt x="142875" y="2256406"/>
                  </a:lnTo>
                  <a:lnTo>
                    <a:pt x="142875" y="1848869"/>
                  </a:lnTo>
                  <a:lnTo>
                    <a:pt x="304800" y="2010794"/>
                  </a:lnTo>
                  <a:lnTo>
                    <a:pt x="304800" y="2418331"/>
                  </a:lnTo>
                  <a:close/>
                  <a:moveTo>
                    <a:pt x="304800" y="1808731"/>
                  </a:moveTo>
                  <a:lnTo>
                    <a:pt x="142875" y="1646806"/>
                  </a:lnTo>
                  <a:lnTo>
                    <a:pt x="142875" y="1239269"/>
                  </a:lnTo>
                  <a:lnTo>
                    <a:pt x="304800" y="1401194"/>
                  </a:lnTo>
                  <a:lnTo>
                    <a:pt x="304800" y="1808731"/>
                  </a:lnTo>
                  <a:close/>
                  <a:moveTo>
                    <a:pt x="304800" y="1199131"/>
                  </a:moveTo>
                  <a:lnTo>
                    <a:pt x="142875" y="1037206"/>
                  </a:lnTo>
                  <a:lnTo>
                    <a:pt x="142875" y="629669"/>
                  </a:lnTo>
                  <a:lnTo>
                    <a:pt x="304800" y="791594"/>
                  </a:lnTo>
                  <a:lnTo>
                    <a:pt x="304800" y="1199131"/>
                  </a:lnTo>
                  <a:close/>
                  <a:moveTo>
                    <a:pt x="609600" y="2561206"/>
                  </a:moveTo>
                  <a:lnTo>
                    <a:pt x="447675" y="2723131"/>
                  </a:lnTo>
                  <a:lnTo>
                    <a:pt x="447675" y="2315594"/>
                  </a:lnTo>
                  <a:lnTo>
                    <a:pt x="609600" y="2153669"/>
                  </a:lnTo>
                  <a:lnTo>
                    <a:pt x="609600" y="2561206"/>
                  </a:lnTo>
                  <a:close/>
                  <a:moveTo>
                    <a:pt x="609600" y="1951606"/>
                  </a:moveTo>
                  <a:lnTo>
                    <a:pt x="447675" y="2113531"/>
                  </a:lnTo>
                  <a:lnTo>
                    <a:pt x="447675" y="1705994"/>
                  </a:lnTo>
                  <a:lnTo>
                    <a:pt x="609600" y="1544069"/>
                  </a:lnTo>
                  <a:lnTo>
                    <a:pt x="609600" y="1951606"/>
                  </a:lnTo>
                  <a:close/>
                  <a:moveTo>
                    <a:pt x="609600" y="1342006"/>
                  </a:moveTo>
                  <a:lnTo>
                    <a:pt x="447675" y="1503931"/>
                  </a:lnTo>
                  <a:lnTo>
                    <a:pt x="447675" y="1096394"/>
                  </a:lnTo>
                  <a:lnTo>
                    <a:pt x="609600" y="934469"/>
                  </a:lnTo>
                  <a:lnTo>
                    <a:pt x="609600" y="1342006"/>
                  </a:lnTo>
                  <a:close/>
                  <a:moveTo>
                    <a:pt x="609600" y="732406"/>
                  </a:moveTo>
                  <a:lnTo>
                    <a:pt x="447675" y="894331"/>
                  </a:lnTo>
                  <a:lnTo>
                    <a:pt x="447675" y="486794"/>
                  </a:lnTo>
                  <a:lnTo>
                    <a:pt x="609600" y="324869"/>
                  </a:lnTo>
                  <a:lnTo>
                    <a:pt x="609600" y="732406"/>
                  </a:lnTo>
                  <a:close/>
                  <a:moveTo>
                    <a:pt x="914400" y="2418331"/>
                  </a:moveTo>
                  <a:lnTo>
                    <a:pt x="752475" y="2256406"/>
                  </a:lnTo>
                  <a:lnTo>
                    <a:pt x="752475" y="1848869"/>
                  </a:lnTo>
                  <a:lnTo>
                    <a:pt x="914400" y="2010794"/>
                  </a:lnTo>
                  <a:lnTo>
                    <a:pt x="914400" y="2418331"/>
                  </a:lnTo>
                  <a:close/>
                  <a:moveTo>
                    <a:pt x="914400" y="1808731"/>
                  </a:moveTo>
                  <a:lnTo>
                    <a:pt x="752475" y="1646806"/>
                  </a:lnTo>
                  <a:lnTo>
                    <a:pt x="752475" y="1239269"/>
                  </a:lnTo>
                  <a:lnTo>
                    <a:pt x="914400" y="1401194"/>
                  </a:lnTo>
                  <a:lnTo>
                    <a:pt x="914400" y="1808731"/>
                  </a:lnTo>
                  <a:close/>
                  <a:moveTo>
                    <a:pt x="914400" y="1199131"/>
                  </a:moveTo>
                  <a:lnTo>
                    <a:pt x="752475" y="1037206"/>
                  </a:lnTo>
                  <a:lnTo>
                    <a:pt x="752475" y="629669"/>
                  </a:lnTo>
                  <a:lnTo>
                    <a:pt x="914400" y="791594"/>
                  </a:lnTo>
                  <a:lnTo>
                    <a:pt x="914400" y="119913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6D7B5F20-4278-4192-813C-71CA3AA93137}"/>
                </a:ext>
              </a:extLst>
            </p:cNvPr>
            <p:cNvSpPr/>
            <p:nvPr/>
          </p:nvSpPr>
          <p:spPr>
            <a:xfrm>
              <a:off x="6326187" y="1566863"/>
              <a:ext cx="142875" cy="152400"/>
            </a:xfrm>
            <a:custGeom>
              <a:avLst/>
              <a:gdLst>
                <a:gd name="connsiteX0" fmla="*/ 0 w 142875"/>
                <a:gd name="connsiteY0" fmla="*/ 0 h 152400"/>
                <a:gd name="connsiteX1" fmla="*/ 142875 w 142875"/>
                <a:gd name="connsiteY1" fmla="*/ 0 h 152400"/>
                <a:gd name="connsiteX2" fmla="*/ 142875 w 142875"/>
                <a:gd name="connsiteY2" fmla="*/ 152400 h 152400"/>
                <a:gd name="connsiteX3" fmla="*/ 0 w 142875"/>
                <a:gd name="connsiteY3" fmla="*/ 1524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2875" h="152400">
                  <a:moveTo>
                    <a:pt x="0" y="0"/>
                  </a:moveTo>
                  <a:lnTo>
                    <a:pt x="142875" y="0"/>
                  </a:lnTo>
                  <a:lnTo>
                    <a:pt x="142875" y="152400"/>
                  </a:lnTo>
                  <a:lnTo>
                    <a:pt x="0" y="15240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6BD3E242-555E-47BF-A71F-7D62D1892C58}"/>
              </a:ext>
            </a:extLst>
          </p:cNvPr>
          <p:cNvCxnSpPr>
            <a:stCxn id="35" idx="44"/>
            <a:endCxn id="28" idx="54"/>
          </p:cNvCxnSpPr>
          <p:nvPr/>
        </p:nvCxnSpPr>
        <p:spPr>
          <a:xfrm flipH="1" flipV="1">
            <a:off x="3914533" y="2665902"/>
            <a:ext cx="2319922" cy="30596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Flowchart: Or 40">
            <a:extLst>
              <a:ext uri="{FF2B5EF4-FFF2-40B4-BE49-F238E27FC236}">
                <a16:creationId xmlns:a16="http://schemas.microsoft.com/office/drawing/2014/main" id="{A76CA37E-0580-4633-BE32-A6CC671258F2}"/>
              </a:ext>
            </a:extLst>
          </p:cNvPr>
          <p:cNvSpPr/>
          <p:nvPr/>
        </p:nvSpPr>
        <p:spPr>
          <a:xfrm>
            <a:off x="5074494" y="2604538"/>
            <a:ext cx="144016" cy="144016"/>
          </a:xfrm>
          <a:prstGeom prst="flowChartOr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D7C4FFE8-B907-4124-B7AC-3561AEA7239B}"/>
              </a:ext>
            </a:extLst>
          </p:cNvPr>
          <p:cNvCxnSpPr>
            <a:cxnSpLocks/>
          </p:cNvCxnSpPr>
          <p:nvPr/>
        </p:nvCxnSpPr>
        <p:spPr>
          <a:xfrm>
            <a:off x="1323375" y="1707654"/>
            <a:ext cx="5912921" cy="0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BCF73467-64DB-4E80-B808-9F7AF9168605}"/>
              </a:ext>
            </a:extLst>
          </p:cNvPr>
          <p:cNvCxnSpPr>
            <a:cxnSpLocks/>
          </p:cNvCxnSpPr>
          <p:nvPr/>
        </p:nvCxnSpPr>
        <p:spPr>
          <a:xfrm>
            <a:off x="1475656" y="1522988"/>
            <a:ext cx="0" cy="2560930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76F5CF81-43CB-440D-9548-94AE7631AD8F}"/>
              </a:ext>
            </a:extLst>
          </p:cNvPr>
          <p:cNvSpPr txBox="1"/>
          <p:nvPr/>
        </p:nvSpPr>
        <p:spPr>
          <a:xfrm>
            <a:off x="7236296" y="1522988"/>
            <a:ext cx="300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dirty="0"/>
              <a:t>x</a:t>
            </a:r>
            <a:endParaRPr lang="en-US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E215B00-DE40-46C0-82D2-84A5217DBC43}"/>
              </a:ext>
            </a:extLst>
          </p:cNvPr>
          <p:cNvSpPr txBox="1"/>
          <p:nvPr/>
        </p:nvSpPr>
        <p:spPr>
          <a:xfrm>
            <a:off x="1173334" y="3800024"/>
            <a:ext cx="300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dirty="0"/>
              <a:t>y</a:t>
            </a:r>
            <a:endParaRPr lang="en-US" dirty="0"/>
          </a:p>
        </p:txBody>
      </p:sp>
      <p:sp>
        <p:nvSpPr>
          <p:cNvPr id="56" name="Arc 55">
            <a:extLst>
              <a:ext uri="{FF2B5EF4-FFF2-40B4-BE49-F238E27FC236}">
                <a16:creationId xmlns:a16="http://schemas.microsoft.com/office/drawing/2014/main" id="{259A59C2-C7D5-4AFF-AA63-C91AD7CE0667}"/>
              </a:ext>
            </a:extLst>
          </p:cNvPr>
          <p:cNvSpPr/>
          <p:nvPr/>
        </p:nvSpPr>
        <p:spPr>
          <a:xfrm rot="1072984">
            <a:off x="6901251" y="2413006"/>
            <a:ext cx="224359" cy="308555"/>
          </a:xfrm>
          <a:prstGeom prst="arc">
            <a:avLst>
              <a:gd name="adj1" fmla="val 16199989"/>
              <a:gd name="adj2" fmla="val 0"/>
            </a:avLst>
          </a:prstGeom>
          <a:ln w="95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3EF62A00-07ED-479C-ACE1-FDABF22C1A54}"/>
                  </a:ext>
                </a:extLst>
              </p:cNvPr>
              <p:cNvSpPr txBox="1"/>
              <p:nvPr/>
            </p:nvSpPr>
            <p:spPr>
              <a:xfrm>
                <a:off x="3019584" y="2612074"/>
                <a:ext cx="307392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1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𝜃</m:t>
                      </m:r>
                    </m:oMath>
                  </m:oMathPara>
                </a14:m>
                <a:endParaRPr lang="en-US" sz="1100" dirty="0"/>
              </a:p>
            </p:txBody>
          </p:sp>
        </mc:Choice>
        <mc:Fallback xmlns=""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3EF62A00-07ED-479C-ACE1-FDABF22C1A5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19584" y="2612074"/>
                <a:ext cx="307392" cy="261610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D500ECDD-0140-4E99-A256-32842D558FCF}"/>
                  </a:ext>
                </a:extLst>
              </p:cNvPr>
              <p:cNvSpPr txBox="1"/>
              <p:nvPr/>
            </p:nvSpPr>
            <p:spPr>
              <a:xfrm>
                <a:off x="5562374" y="3037453"/>
                <a:ext cx="363561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sz="1100" dirty="0"/>
              </a:p>
            </p:txBody>
          </p:sp>
        </mc:Choice>
        <mc:Fallback xmlns=""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D500ECDD-0140-4E99-A256-32842D558FC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62374" y="3037453"/>
                <a:ext cx="363561" cy="26161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D0587824-9C49-46DB-A980-C5CD34CB89FF}"/>
                  </a:ext>
                </a:extLst>
              </p:cNvPr>
              <p:cNvSpPr txBox="1"/>
              <p:nvPr/>
            </p:nvSpPr>
            <p:spPr>
              <a:xfrm>
                <a:off x="4410536" y="3035438"/>
                <a:ext cx="355867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sz="1100" dirty="0"/>
              </a:p>
            </p:txBody>
          </p:sp>
        </mc:Choice>
        <mc:Fallback xmlns=""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D0587824-9C49-46DB-A980-C5CD34CB89F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10536" y="3035438"/>
                <a:ext cx="355867" cy="261610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68B8C4D6-AB2A-433F-BA1D-8C8A39641876}"/>
                  </a:ext>
                </a:extLst>
              </p:cNvPr>
              <p:cNvSpPr txBox="1"/>
              <p:nvPr/>
            </p:nvSpPr>
            <p:spPr>
              <a:xfrm>
                <a:off x="4115671" y="3427308"/>
                <a:ext cx="345671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sz="1100" dirty="0"/>
              </a:p>
            </p:txBody>
          </p:sp>
        </mc:Choice>
        <mc:Fallback xmlns=""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68B8C4D6-AB2A-433F-BA1D-8C8A3964187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15671" y="3427308"/>
                <a:ext cx="345671" cy="261610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0" name="TextBox 99">
                <a:extLst>
                  <a:ext uri="{FF2B5EF4-FFF2-40B4-BE49-F238E27FC236}">
                    <a16:creationId xmlns:a16="http://schemas.microsoft.com/office/drawing/2014/main" id="{CA104DD2-44E2-4567-9DBC-E3F7947F4A5D}"/>
                  </a:ext>
                </a:extLst>
              </p:cNvPr>
              <p:cNvSpPr txBox="1"/>
              <p:nvPr/>
            </p:nvSpPr>
            <p:spPr>
              <a:xfrm>
                <a:off x="3489347" y="3035438"/>
                <a:ext cx="355867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b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sz="1100" dirty="0"/>
              </a:p>
            </p:txBody>
          </p:sp>
        </mc:Choice>
        <mc:Fallback xmlns="">
          <p:sp>
            <p:nvSpPr>
              <p:cNvPr id="100" name="TextBox 99">
                <a:extLst>
                  <a:ext uri="{FF2B5EF4-FFF2-40B4-BE49-F238E27FC236}">
                    <a16:creationId xmlns:a16="http://schemas.microsoft.com/office/drawing/2014/main" id="{CA104DD2-44E2-4567-9DBC-E3F7947F4A5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89347" y="3035438"/>
                <a:ext cx="355867" cy="26161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57470B3B-12E8-459C-A68B-F47E90655A69}"/>
                  </a:ext>
                </a:extLst>
              </p:cNvPr>
              <p:cNvSpPr txBox="1"/>
              <p:nvPr/>
            </p:nvSpPr>
            <p:spPr>
              <a:xfrm>
                <a:off x="4968568" y="2065352"/>
                <a:ext cx="329899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e>
                        <m:sub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sz="1100" dirty="0"/>
              </a:p>
            </p:txBody>
          </p:sp>
        </mc:Choice>
        <mc:Fallback xmlns=""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57470B3B-12E8-459C-A68B-F47E90655A6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68568" y="2065352"/>
                <a:ext cx="329899" cy="261610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6CCF0ABB-A547-40C5-AAEF-F9F91701B2B7}"/>
                  </a:ext>
                </a:extLst>
              </p:cNvPr>
              <p:cNvSpPr txBox="1"/>
              <p:nvPr/>
            </p:nvSpPr>
            <p:spPr>
              <a:xfrm>
                <a:off x="4542634" y="2404293"/>
                <a:ext cx="620298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  <m:sub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s-MX" sz="1100" b="0" i="1" smtClean="0">
                          <a:latin typeface="Cambria Math" panose="02040503050406030204" pitchFamily="18" charset="0"/>
                        </a:rPr>
                        <m:t>, </m:t>
                      </m:r>
                      <m:sSub>
                        <m:sSubPr>
                          <m:ctrlPr>
                            <a:rPr lang="es-MX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𝐼</m:t>
                          </m:r>
                        </m:e>
                        <m:sub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𝑧</m:t>
                          </m:r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sz="1100" dirty="0"/>
              </a:p>
            </p:txBody>
          </p:sp>
        </mc:Choice>
        <mc:Fallback xmlns=""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6CCF0ABB-A547-40C5-AAEF-F9F91701B2B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42634" y="2404293"/>
                <a:ext cx="620298" cy="261610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3" name="TextBox 102">
                <a:extLst>
                  <a:ext uri="{FF2B5EF4-FFF2-40B4-BE49-F238E27FC236}">
                    <a16:creationId xmlns:a16="http://schemas.microsoft.com/office/drawing/2014/main" id="{13B098D7-EE3D-422C-ABDA-B69D5F978B6F}"/>
                  </a:ext>
                </a:extLst>
              </p:cNvPr>
              <p:cNvSpPr txBox="1"/>
              <p:nvPr/>
            </p:nvSpPr>
            <p:spPr>
              <a:xfrm>
                <a:off x="2681098" y="2226791"/>
                <a:ext cx="366832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sz="1100" dirty="0"/>
              </a:p>
            </p:txBody>
          </p:sp>
        </mc:Choice>
        <mc:Fallback xmlns="">
          <p:sp>
            <p:nvSpPr>
              <p:cNvPr id="103" name="TextBox 102">
                <a:extLst>
                  <a:ext uri="{FF2B5EF4-FFF2-40B4-BE49-F238E27FC236}">
                    <a16:creationId xmlns:a16="http://schemas.microsoft.com/office/drawing/2014/main" id="{13B098D7-EE3D-422C-ABDA-B69D5F978B6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81098" y="2226791"/>
                <a:ext cx="366832" cy="261610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C2D74092-6973-46D3-A1C0-04D36093AAE2}"/>
                  </a:ext>
                </a:extLst>
              </p:cNvPr>
              <p:cNvSpPr txBox="1"/>
              <p:nvPr/>
            </p:nvSpPr>
            <p:spPr>
              <a:xfrm>
                <a:off x="2111721" y="2598711"/>
                <a:ext cx="359136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sz="1100" dirty="0"/>
              </a:p>
            </p:txBody>
          </p:sp>
        </mc:Choice>
        <mc:Fallback xmlns=""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C2D74092-6973-46D3-A1C0-04D36093AAE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11721" y="2598711"/>
                <a:ext cx="359136" cy="261610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5" name="TextBox 104">
                <a:extLst>
                  <a:ext uri="{FF2B5EF4-FFF2-40B4-BE49-F238E27FC236}">
                    <a16:creationId xmlns:a16="http://schemas.microsoft.com/office/drawing/2014/main" id="{6865B67F-BC14-43A2-83FD-718F2A3B2039}"/>
                  </a:ext>
                </a:extLst>
              </p:cNvPr>
              <p:cNvSpPr txBox="1"/>
              <p:nvPr/>
            </p:nvSpPr>
            <p:spPr>
              <a:xfrm>
                <a:off x="2267769" y="2190723"/>
                <a:ext cx="333168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e>
                        <m:sub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sz="1100" dirty="0"/>
              </a:p>
            </p:txBody>
          </p:sp>
        </mc:Choice>
        <mc:Fallback xmlns="">
          <p:sp>
            <p:nvSpPr>
              <p:cNvPr id="105" name="TextBox 104">
                <a:extLst>
                  <a:ext uri="{FF2B5EF4-FFF2-40B4-BE49-F238E27FC236}">
                    <a16:creationId xmlns:a16="http://schemas.microsoft.com/office/drawing/2014/main" id="{6865B67F-BC14-43A2-83FD-718F2A3B203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67769" y="2190723"/>
                <a:ext cx="333168" cy="261610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6" name="TextBox 105">
                <a:extLst>
                  <a:ext uri="{FF2B5EF4-FFF2-40B4-BE49-F238E27FC236}">
                    <a16:creationId xmlns:a16="http://schemas.microsoft.com/office/drawing/2014/main" id="{81D3FA75-163C-47F4-AC2D-6603091374D1}"/>
                  </a:ext>
                </a:extLst>
              </p:cNvPr>
              <p:cNvSpPr txBox="1"/>
              <p:nvPr/>
            </p:nvSpPr>
            <p:spPr>
              <a:xfrm>
                <a:off x="2608331" y="3031280"/>
                <a:ext cx="623568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  <m:sub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s-MX" sz="1100" b="0" i="1" smtClean="0">
                          <a:latin typeface="Cambria Math" panose="02040503050406030204" pitchFamily="18" charset="0"/>
                        </a:rPr>
                        <m:t>, </m:t>
                      </m:r>
                      <m:sSub>
                        <m:sSubPr>
                          <m:ctrlPr>
                            <a:rPr lang="es-MX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𝐼</m:t>
                          </m:r>
                        </m:e>
                        <m:sub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𝑧</m:t>
                          </m:r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sz="1100" dirty="0"/>
              </a:p>
            </p:txBody>
          </p:sp>
        </mc:Choice>
        <mc:Fallback xmlns="">
          <p:sp>
            <p:nvSpPr>
              <p:cNvPr id="106" name="TextBox 105">
                <a:extLst>
                  <a:ext uri="{FF2B5EF4-FFF2-40B4-BE49-F238E27FC236}">
                    <a16:creationId xmlns:a16="http://schemas.microsoft.com/office/drawing/2014/main" id="{81D3FA75-163C-47F4-AC2D-6603091374D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08331" y="3031280"/>
                <a:ext cx="623568" cy="261610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050" name="Picture 2" descr="Aircraft principal axes - Wikipedia">
            <a:extLst>
              <a:ext uri="{FF2B5EF4-FFF2-40B4-BE49-F238E27FC236}">
                <a16:creationId xmlns:a16="http://schemas.microsoft.com/office/drawing/2014/main" id="{3BE249E2-B214-4E4F-969C-08D18B141F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2877" y="2915003"/>
            <a:ext cx="1280328" cy="1059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6581567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27AA13F5-ACC2-45AA-858E-3F8BC0F8F686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395289" y="411510"/>
                <a:ext cx="8353425" cy="3744565"/>
              </a:xfrm>
            </p:spPr>
            <p:txBody>
              <a:bodyPr>
                <a:normAutofit lnSpcReduction="10000"/>
              </a:bodyPr>
              <a:lstStyle/>
              <a:p>
                <a:r>
                  <a:rPr lang="es-MX" dirty="0"/>
                  <a:t>In </a:t>
                </a:r>
                <a:r>
                  <a:rPr lang="es-MX" dirty="0" err="1"/>
                  <a:t>the</a:t>
                </a:r>
                <a:r>
                  <a:rPr lang="es-MX" dirty="0"/>
                  <a:t> </a:t>
                </a:r>
                <a:r>
                  <a:rPr lang="es-MX" dirty="0" err="1"/>
                  <a:t>model</a:t>
                </a:r>
                <a:r>
                  <a:rPr lang="es-MX" dirty="0"/>
                  <a:t>, </a:t>
                </a:r>
                <a:r>
                  <a:rPr lang="es-MX" dirty="0" err="1"/>
                  <a:t>the</a:t>
                </a:r>
                <a:r>
                  <a:rPr lang="es-MX" dirty="0"/>
                  <a:t> tires </a:t>
                </a:r>
                <a:r>
                  <a:rPr lang="es-MX" dirty="0" err="1"/>
                  <a:t>of</a:t>
                </a:r>
                <a:r>
                  <a:rPr lang="es-MX" dirty="0"/>
                  <a:t> </a:t>
                </a:r>
                <a:r>
                  <a:rPr lang="es-MX" dirty="0" err="1"/>
                  <a:t>each</a:t>
                </a:r>
                <a:r>
                  <a:rPr lang="es-MX" dirty="0"/>
                  <a:t> </a:t>
                </a:r>
                <a:r>
                  <a:rPr lang="es-MX" dirty="0" err="1"/>
                  <a:t>axle</a:t>
                </a:r>
                <a:r>
                  <a:rPr lang="es-MX" dirty="0"/>
                  <a:t> are </a:t>
                </a:r>
                <a:r>
                  <a:rPr lang="es-MX" dirty="0" err="1"/>
                  <a:t>represented</a:t>
                </a:r>
                <a:r>
                  <a:rPr lang="es-MX" dirty="0"/>
                  <a:t> as single tire. </a:t>
                </a:r>
                <a:r>
                  <a:rPr lang="es-MX" dirty="0" err="1"/>
                  <a:t>That’s</a:t>
                </a:r>
                <a:r>
                  <a:rPr lang="es-MX" dirty="0"/>
                  <a:t> </a:t>
                </a:r>
                <a:r>
                  <a:rPr lang="es-MX" dirty="0" err="1"/>
                  <a:t>what</a:t>
                </a:r>
                <a:r>
                  <a:rPr lang="es-MX" dirty="0"/>
                  <a:t> si </a:t>
                </a:r>
                <a:r>
                  <a:rPr lang="es-MX" dirty="0" err="1"/>
                  <a:t>called</a:t>
                </a:r>
                <a:r>
                  <a:rPr lang="es-MX" dirty="0"/>
                  <a:t> ‘</a:t>
                </a:r>
                <a:r>
                  <a:rPr lang="es-MX" dirty="0" err="1"/>
                  <a:t>bicycle</a:t>
                </a:r>
                <a:r>
                  <a:rPr lang="es-MX" dirty="0"/>
                  <a:t> </a:t>
                </a:r>
                <a:r>
                  <a:rPr lang="es-MX" dirty="0" err="1"/>
                  <a:t>model</a:t>
                </a:r>
                <a:r>
                  <a:rPr lang="es-MX" dirty="0"/>
                  <a:t>’.</a:t>
                </a:r>
              </a:p>
              <a:p>
                <a:r>
                  <a:rPr lang="es-MX" dirty="0"/>
                  <a:t> Front Wheel </a:t>
                </a:r>
                <a:r>
                  <a:rPr lang="es-MX" dirty="0" err="1"/>
                  <a:t>steering</a:t>
                </a:r>
                <a:r>
                  <a:rPr lang="es-MX" dirty="0"/>
                  <a:t> </a:t>
                </a:r>
                <a:r>
                  <a:rPr lang="es-MX" dirty="0" err="1"/>
                  <a:t>angle</a:t>
                </a:r>
                <a:r>
                  <a:rPr lang="es-MX" dirty="0"/>
                  <a:t> </a:t>
                </a:r>
                <a14:m>
                  <m:oMath xmlns:m="http://schemas.openxmlformats.org/officeDocument/2006/math">
                    <m:r>
                      <a:rPr lang="es-MX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𝛿</m:t>
                    </m:r>
                    <m:r>
                      <a:rPr lang="es-MX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.</m:t>
                    </m:r>
                  </m:oMath>
                </a14:m>
                <a:endParaRPr lang="es-MX" b="0" dirty="0">
                  <a:ea typeface="Cambria Math" panose="02040503050406030204" pitchFamily="18" charset="0"/>
                </a:endParaRPr>
              </a:p>
              <a:p>
                <a:r>
                  <a:rPr lang="en-US" dirty="0"/>
                  <a:t>Hitch angle </a:t>
                </a:r>
                <a14:m>
                  <m:oMath xmlns:m="http://schemas.openxmlformats.org/officeDocument/2006/math"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𝜃</m:t>
                    </m:r>
                  </m:oMath>
                </a14:m>
                <a:endParaRPr lang="es-MX" dirty="0">
                  <a:ea typeface="Cambria Math" panose="02040503050406030204" pitchFamily="18" charset="0"/>
                </a:endParaRP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s-MX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dirty="0"/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MX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en-US" dirty="0"/>
                  <a:t> are the masses of the vehicle and trailer, respectively. 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s-MX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𝐼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𝑧</m:t>
                        </m:r>
                        <m:r>
                          <a:rPr lang="es-MX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dirty="0"/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MX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𝐼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𝑧</m:t>
                        </m:r>
                        <m:r>
                          <a:rPr lang="es-MX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dirty="0"/>
                  <a:t> are the yaw moments of inertia of the vehicle and trailer respectively yaw axes passing through the center of mass.</a:t>
                </a:r>
              </a:p>
              <a:p>
                <a:r>
                  <a:rPr lang="en-US" dirty="0"/>
                  <a:t> The symbol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MX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s-MX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dirty="0"/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MX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lang="es-MX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dirty="0"/>
                  <a:t>, are the distances of the vehicle front and rear axle to the center of mass</a:t>
                </a:r>
              </a:p>
              <a:p>
                <a:r>
                  <a:rPr lang="en-US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MX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b>
                        <m:r>
                          <a:rPr lang="es-MX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dirty="0"/>
                  <a:t>, is the distance of the rear axle of the vehicle to the hitch point.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s-MX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s-MX" b="0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s-MX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s-MX" b="0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s-MX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dirty="0"/>
                  <a:t>is the distance of the hitch point to the vehicle center of mass. </a:t>
                </a:r>
              </a:p>
            </p:txBody>
          </p:sp>
        </mc:Choice>
        <mc:Fallback xmlns="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27AA13F5-ACC2-45AA-858E-3F8BC0F8F686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95289" y="411510"/>
                <a:ext cx="8353425" cy="3744565"/>
              </a:xfrm>
              <a:blipFill>
                <a:blip r:embed="rId3"/>
                <a:stretch>
                  <a:fillRect l="-1752" t="-3257" r="-65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FD3330-4C50-4061-98FB-432A839987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17 June 2020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FC604D-C19A-4E7D-9BB4-694ABADAF58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0DE67C-5080-4859-BEDA-2D3D2E12091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587195257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A61653BB-372C-4470-8AA6-56999768F9C4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395289" y="365432"/>
                <a:ext cx="8353425" cy="3790644"/>
              </a:xfrm>
            </p:spPr>
            <p:txBody>
              <a:bodyPr/>
              <a:lstStyle/>
              <a:p>
                <a:r>
                  <a:rPr lang="es-MX" dirty="0"/>
                  <a:t>Symbol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MX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i="1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en-US" dirty="0"/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MX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i="1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es-MX" dirty="0"/>
                  <a:t> denote </a:t>
                </a:r>
                <a:r>
                  <a:rPr lang="es-MX" dirty="0" err="1"/>
                  <a:t>the</a:t>
                </a:r>
                <a:r>
                  <a:rPr lang="es-MX" dirty="0"/>
                  <a:t> </a:t>
                </a:r>
                <a:r>
                  <a:rPr lang="es-MX" dirty="0" err="1"/>
                  <a:t>distances</a:t>
                </a:r>
                <a:r>
                  <a:rPr lang="es-MX" dirty="0"/>
                  <a:t> </a:t>
                </a:r>
                <a:r>
                  <a:rPr lang="es-MX" dirty="0" err="1"/>
                  <a:t>of</a:t>
                </a:r>
                <a:r>
                  <a:rPr lang="es-MX" dirty="0"/>
                  <a:t> </a:t>
                </a:r>
                <a:r>
                  <a:rPr lang="es-MX" dirty="0" err="1"/>
                  <a:t>the</a:t>
                </a:r>
                <a:r>
                  <a:rPr lang="es-MX" dirty="0"/>
                  <a:t> </a:t>
                </a:r>
                <a:r>
                  <a:rPr lang="es-MX" dirty="0" err="1"/>
                  <a:t>trailer</a:t>
                </a:r>
                <a:r>
                  <a:rPr lang="es-MX" dirty="0"/>
                  <a:t> center </a:t>
                </a:r>
                <a:r>
                  <a:rPr lang="es-MX" dirty="0" err="1"/>
                  <a:t>of</a:t>
                </a:r>
                <a:r>
                  <a:rPr lang="es-MX" dirty="0"/>
                  <a:t> </a:t>
                </a:r>
                <a:r>
                  <a:rPr lang="es-MX" dirty="0" err="1"/>
                  <a:t>mass</a:t>
                </a:r>
                <a:r>
                  <a:rPr lang="es-MX" dirty="0"/>
                  <a:t> </a:t>
                </a:r>
                <a:r>
                  <a:rPr lang="es-MX" dirty="0" err="1"/>
                  <a:t>to</a:t>
                </a:r>
                <a:r>
                  <a:rPr lang="es-MX" dirty="0"/>
                  <a:t> </a:t>
                </a:r>
                <a:r>
                  <a:rPr lang="es-MX" dirty="0" err="1"/>
                  <a:t>the</a:t>
                </a:r>
                <a:r>
                  <a:rPr lang="es-MX" dirty="0"/>
                  <a:t> </a:t>
                </a:r>
                <a:r>
                  <a:rPr lang="es-MX" dirty="0" err="1"/>
                  <a:t>hitch</a:t>
                </a:r>
                <a:r>
                  <a:rPr lang="es-MX" dirty="0"/>
                  <a:t> </a:t>
                </a:r>
                <a:r>
                  <a:rPr lang="es-MX" dirty="0" err="1"/>
                  <a:t>point</a:t>
                </a:r>
                <a:r>
                  <a:rPr lang="es-MX" dirty="0"/>
                  <a:t> and </a:t>
                </a:r>
                <a:r>
                  <a:rPr lang="es-MX" dirty="0" err="1"/>
                  <a:t>trailer</a:t>
                </a:r>
                <a:r>
                  <a:rPr lang="es-MX" dirty="0"/>
                  <a:t> </a:t>
                </a:r>
                <a:r>
                  <a:rPr lang="es-MX" dirty="0" err="1"/>
                  <a:t>axle</a:t>
                </a:r>
                <a:r>
                  <a:rPr lang="es-MX" dirty="0"/>
                  <a:t>, </a:t>
                </a:r>
                <a:r>
                  <a:rPr lang="es-MX" dirty="0" err="1"/>
                  <a:t>respectively</a:t>
                </a:r>
                <a:r>
                  <a:rPr lang="es-MX" dirty="0"/>
                  <a:t>.</a:t>
                </a:r>
              </a:p>
              <a:p>
                <a:r>
                  <a:rPr lang="es-MX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MX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𝐼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s-MX" b="0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s-MX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s-MX" b="0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s-MX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en-US" dirty="0"/>
                  <a:t> is the distance of the trailer axle to the hitch point.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s-MX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dirty="0"/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MX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en-US" dirty="0"/>
                  <a:t> are the yaw rates of the vehicle and trailer, respectively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s-MX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𝑣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sub>
                    </m:sSub>
                  </m:oMath>
                </a14:m>
                <a:r>
                  <a:rPr lang="en-US" dirty="0"/>
                  <a:t> is the longitudinal velocity of vehicle and trailer, under the small angle assumption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s-MX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𝐹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𝑦𝑓</m:t>
                        </m:r>
                      </m:sub>
                    </m:sSub>
                    <m:r>
                      <a:rPr lang="es-MX" b="0" i="1" smtClean="0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es-MX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𝐹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𝑦𝑟</m:t>
                        </m:r>
                      </m:sub>
                    </m:sSub>
                    <m:r>
                      <a:rPr lang="es-MX" b="0" i="1" smtClean="0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es-MX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𝐹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𝑦𝑡</m:t>
                        </m:r>
                      </m:sub>
                    </m:sSub>
                  </m:oMath>
                </a14:m>
                <a:r>
                  <a:rPr lang="en-US" dirty="0"/>
                  <a:t> are the lateral tire forces per axle acting at front, rear and trailer axle, respectively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s-MX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𝑌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sub>
                    </m:sSub>
                  </m:oMath>
                </a14:m>
                <a:r>
                  <a:rPr lang="en-US" dirty="0"/>
                  <a:t> is the hitch force in the lateral direction.</a:t>
                </a:r>
              </a:p>
              <a:p>
                <a14:m>
                  <m:oMath xmlns:m="http://schemas.openxmlformats.org/officeDocument/2006/math"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∆</m:t>
                    </m:r>
                    <m:sSub>
                      <m:sSubPr>
                        <m:ctrlPr>
                          <a:rPr lang="es-MX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𝑀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𝑧</m:t>
                        </m:r>
                        <m:r>
                          <a:rPr lang="es-MX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dirty="0"/>
                  <a:t> is the yaw moment</a:t>
                </a:r>
              </a:p>
              <a:p>
                <a:endParaRPr lang="en-US" dirty="0"/>
              </a:p>
              <a:p>
                <a:endParaRPr lang="en-US" dirty="0"/>
              </a:p>
            </p:txBody>
          </p:sp>
        </mc:Choice>
        <mc:Fallback xmlns="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A61653BB-372C-4470-8AA6-56999768F9C4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95289" y="365432"/>
                <a:ext cx="8353425" cy="3790644"/>
              </a:xfrm>
              <a:blipFill>
                <a:blip r:embed="rId2"/>
                <a:stretch>
                  <a:fillRect l="-1752" t="-2412" r="-1168"/>
                </a:stretch>
              </a:blipFill>
            </p:spPr>
            <p:txBody>
              <a:bodyPr/>
              <a:lstStyle/>
              <a:p>
                <a:r>
                  <a:rPr lang="es-MX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CEB578-7CD8-4BF8-B2FA-575E61DC59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17 June 2020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D76B4F-5B96-4C08-9A24-62185B41314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4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8D31652-1325-4363-A09B-4B5A3409832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726945445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91FAA625-96DF-43D4-AAC0-E49E56CEC2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03213"/>
            <a:ext cx="2952575" cy="396329"/>
          </a:xfrm>
        </p:spPr>
        <p:txBody>
          <a:bodyPr/>
          <a:lstStyle/>
          <a:p>
            <a:r>
              <a:rPr lang="es-MX" b="0" dirty="0"/>
              <a:t>Dynamic </a:t>
            </a:r>
            <a:r>
              <a:rPr lang="es-MX" b="0" dirty="0" err="1"/>
              <a:t>equations</a:t>
            </a:r>
            <a:br>
              <a:rPr lang="es-MX" dirty="0"/>
            </a:br>
            <a:endParaRPr lang="es-MX" dirty="0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F4C6E67C-A9B5-42EA-B1F2-27A46CA3D1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17 June 2020</a:t>
            </a:fld>
            <a:endParaRPr lang="en-US" noProof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E2434DFE-87DE-4188-B5B3-65B2172ED53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5</a:t>
            </a:fld>
            <a:endParaRPr lang="en-US" noProof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DCC6B2C1-040E-412A-A5C9-14A0317FDC2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Content Placeholder 1">
                <a:extLst>
                  <a:ext uri="{FF2B5EF4-FFF2-40B4-BE49-F238E27FC236}">
                    <a16:creationId xmlns:a16="http://schemas.microsoft.com/office/drawing/2014/main" id="{DC96FC68-82EF-43C8-A210-9D883784C15B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395289" y="1171678"/>
                <a:ext cx="8353425" cy="2253382"/>
              </a:xfrm>
            </p:spPr>
            <p:txBody>
              <a:bodyPr>
                <a:noAutofit/>
              </a:bodyPr>
              <a:lstStyle/>
              <a:p>
                <a:pPr marL="0" indent="0">
                  <a:buNone/>
                </a:pPr>
                <a:r>
                  <a:rPr lang="en-US" b="1" dirty="0"/>
                  <a:t>Conditions and assumptions are:</a:t>
                </a:r>
              </a:p>
              <a:p>
                <a:pPr algn="just"/>
                <a:r>
                  <a:rPr lang="en-US" dirty="0"/>
                  <a:t>Effects of aerodynamic drag forces and deceleration on lateral dynamics are ignored.</a:t>
                </a:r>
              </a:p>
              <a:p>
                <a:pPr algn="just"/>
                <a:r>
                  <a:rPr lang="en-US" dirty="0"/>
                  <a:t>Tire slip angles are assumed to be small</a:t>
                </a:r>
              </a:p>
              <a:p>
                <a:pPr algn="just"/>
                <a:r>
                  <a:rPr lang="en-US" dirty="0"/>
                  <a:t>Velocities of vehicle and trailer are the sam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s-MX" b="0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i="1">
                            <a:latin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es-MX" i="1">
                            <a:latin typeface="Cambria Math" panose="02040503050406030204" pitchFamily="18" charset="0"/>
                          </a:rPr>
                          <m:t>𝑥</m:t>
                        </m:r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s-MX" b="0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i="1">
                            <a:latin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es-MX" i="1">
                            <a:latin typeface="Cambria Math" panose="02040503050406030204" pitchFamily="18" charset="0"/>
                          </a:rPr>
                          <m:t>𝑥</m:t>
                        </m:r>
                      </m:sub>
                    </m:sSub>
                  </m:oMath>
                </a14:m>
                <a:endParaRPr lang="es-MX" dirty="0"/>
              </a:p>
              <a:p>
                <a:pPr algn="just"/>
                <a:r>
                  <a:rPr lang="en-US" dirty="0"/>
                  <a:t>Vehicle may be subjected to the yaw momen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∆</m:t>
                        </m:r>
                        <m:r>
                          <a:rPr lang="es-MX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𝑀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𝑧</m:t>
                        </m:r>
                        <m:r>
                          <a:rPr lang="es-MX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s-MX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dirty="0"/>
                  <a:t>resulting from active asymmetric braking of the towing vehicle, which is considered the control input</a:t>
                </a:r>
                <a:br>
                  <a:rPr lang="en-US" dirty="0"/>
                </a:br>
                <a:br>
                  <a:rPr lang="en-US" dirty="0"/>
                </a:br>
                <a:br>
                  <a:rPr lang="en-US" dirty="0"/>
                </a:br>
                <a:br>
                  <a:rPr lang="en-US" dirty="0"/>
                </a:br>
                <a:br>
                  <a:rPr lang="en-US" dirty="0"/>
                </a:br>
                <a:br>
                  <a:rPr lang="es-MX" dirty="0"/>
                </a:br>
                <a:br>
                  <a:rPr lang="es-MX" dirty="0"/>
                </a:br>
                <a:endParaRPr lang="en-US" dirty="0"/>
              </a:p>
            </p:txBody>
          </p:sp>
        </mc:Choice>
        <mc:Fallback xmlns="">
          <p:sp>
            <p:nvSpPr>
              <p:cNvPr id="8" name="Content Placeholder 1">
                <a:extLst>
                  <a:ext uri="{FF2B5EF4-FFF2-40B4-BE49-F238E27FC236}">
                    <a16:creationId xmlns:a16="http://schemas.microsoft.com/office/drawing/2014/main" id="{DC96FC68-82EF-43C8-A210-9D883784C15B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95289" y="1171678"/>
                <a:ext cx="8353425" cy="2253382"/>
              </a:xfrm>
              <a:blipFill>
                <a:blip r:embed="rId2"/>
                <a:stretch>
                  <a:fillRect l="-1752" t="-1892" r="-1460"/>
                </a:stretch>
              </a:blipFill>
            </p:spPr>
            <p:txBody>
              <a:bodyPr/>
              <a:lstStyle/>
              <a:p>
                <a:r>
                  <a:rPr lang="es-MX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010527763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7B5485E-CB22-449A-BB4E-D5E5D0CBCC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17 June 2020</a:t>
            </a:fld>
            <a:endParaRPr lang="en-US" noProof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2A670EAD-8CFE-49D9-B5CE-1CC989B4AD0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6</a:t>
            </a:fld>
            <a:endParaRPr lang="en-US" noProof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70750D82-9E55-4914-888B-69025614927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Rectángulo 6">
                <a:extLst>
                  <a:ext uri="{FF2B5EF4-FFF2-40B4-BE49-F238E27FC236}">
                    <a16:creationId xmlns:a16="http://schemas.microsoft.com/office/drawing/2014/main" id="{0B4A6EE1-C786-4212-947C-54FFE23159C7}"/>
                  </a:ext>
                </a:extLst>
              </p:cNvPr>
              <p:cNvSpPr/>
              <p:nvPr/>
            </p:nvSpPr>
            <p:spPr>
              <a:xfrm>
                <a:off x="4416448" y="1639566"/>
                <a:ext cx="4608512" cy="132940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𝑦</m:t>
                          </m:r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s-MX" i="1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𝐹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𝑦𝑓</m:t>
                          </m:r>
                        </m:sub>
                      </m:sSub>
                      <m:r>
                        <a:rPr lang="es-MX" i="1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𝐹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𝑦𝑟</m:t>
                          </m:r>
                        </m:sub>
                      </m:sSub>
                      <m:r>
                        <a:rPr lang="es-MX" i="1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h</m:t>
                          </m:r>
                        </m:sub>
                      </m:sSub>
                    </m:oMath>
                  </m:oMathPara>
                </a14:m>
                <a:endParaRPr lang="es-MX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𝐼</m:t>
                          </m:r>
                        </m:e>
                        <m:sub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𝑧</m:t>
                          </m:r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s-MX" i="1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l-GR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𝜔</m:t>
                              </m:r>
                            </m:e>
                          </m:acc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s-MX" i="1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𝐹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𝑦𝑓</m:t>
                          </m:r>
                        </m:sub>
                      </m:sSub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s-MX" b="0" i="1" smtClean="0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𝐹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𝑦𝑟</m:t>
                          </m:r>
                        </m:sub>
                      </m:sSub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s-MX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h</m:t>
                          </m:r>
                        </m:sub>
                      </m:sSub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s-MX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s-MX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∆</m:t>
                      </m:r>
                      <m:sSub>
                        <m:sSubPr>
                          <m:ctrlPr>
                            <a:rPr lang="es-MX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𝑀</m:t>
                          </m:r>
                        </m:e>
                        <m:sub>
                          <m:r>
                            <a:rPr lang="es-MX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𝑧</m:t>
                          </m:r>
                          <m:r>
                            <a:rPr lang="es-MX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s-MX" b="0" dirty="0"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  <m:sub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𝑦</m:t>
                          </m:r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s-MX" i="1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sSub>
                            <m:sSubPr>
                              <m:ctrlPr>
                                <a:rPr lang="es-MX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s-MX" i="1">
                                  <a:latin typeface="Cambria Math" panose="02040503050406030204" pitchFamily="18" charset="0"/>
                                </a:rPr>
                                <m:t>𝑌</m:t>
                              </m:r>
                            </m:e>
                            <m:sub>
                              <m:r>
                                <a:rPr lang="es-MX" i="1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sub>
                          </m:sSub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𝐹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𝑦</m:t>
                          </m:r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</m:oMath>
                  </m:oMathPara>
                </a14:m>
                <a:endParaRPr lang="es-MX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𝐼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𝑧</m:t>
                          </m:r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s-MX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l-GR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𝜔</m:t>
                              </m:r>
                            </m:e>
                          </m:acc>
                        </m:e>
                        <m:sub>
                          <m:r>
                            <a:rPr lang="es-MX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s-MX" i="1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h</m:t>
                          </m:r>
                        </m:sub>
                      </m:sSub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s-MX" b="0" i="1" smtClean="0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es-MX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𝐹</m:t>
                          </m:r>
                        </m:e>
                        <m:sub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𝑦𝑡</m:t>
                          </m:r>
                        </m:sub>
                      </m:sSub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s-MX" dirty="0"/>
              </a:p>
            </p:txBody>
          </p:sp>
        </mc:Choice>
        <mc:Fallback xmlns="">
          <p:sp>
            <p:nvSpPr>
              <p:cNvPr id="7" name="Rectángulo 6">
                <a:extLst>
                  <a:ext uri="{FF2B5EF4-FFF2-40B4-BE49-F238E27FC236}">
                    <a16:creationId xmlns:a16="http://schemas.microsoft.com/office/drawing/2014/main" id="{0B4A6EE1-C786-4212-947C-54FFE23159C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16448" y="1639566"/>
                <a:ext cx="4608512" cy="132940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s-MX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ítulo 2">
            <a:extLst>
              <a:ext uri="{FF2B5EF4-FFF2-40B4-BE49-F238E27FC236}">
                <a16:creationId xmlns:a16="http://schemas.microsoft.com/office/drawing/2014/main" id="{528D9115-803E-42C5-8466-64696FA273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03213"/>
            <a:ext cx="2952575" cy="396329"/>
          </a:xfrm>
        </p:spPr>
        <p:txBody>
          <a:bodyPr/>
          <a:lstStyle/>
          <a:p>
            <a:r>
              <a:rPr lang="es-MX" b="0" dirty="0"/>
              <a:t>Dynamic </a:t>
            </a:r>
            <a:r>
              <a:rPr lang="es-MX" b="0" dirty="0" err="1"/>
              <a:t>equations</a:t>
            </a:r>
            <a:br>
              <a:rPr lang="es-MX" dirty="0"/>
            </a:br>
            <a:endParaRPr lang="es-MX" dirty="0"/>
          </a:p>
        </p:txBody>
      </p:sp>
      <p:sp>
        <p:nvSpPr>
          <p:cNvPr id="12" name="Marcador de contenido 11">
            <a:extLst>
              <a:ext uri="{FF2B5EF4-FFF2-40B4-BE49-F238E27FC236}">
                <a16:creationId xmlns:a16="http://schemas.microsoft.com/office/drawing/2014/main" id="{07EDB329-3D38-406A-8D65-10A09A44D9C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7" y="782076"/>
            <a:ext cx="8353425" cy="396330"/>
          </a:xfrm>
        </p:spPr>
        <p:txBody>
          <a:bodyPr/>
          <a:lstStyle/>
          <a:p>
            <a:pPr marL="0" indent="0">
              <a:buNone/>
            </a:pPr>
            <a:r>
              <a:rPr lang="es-MX" dirty="0" err="1"/>
              <a:t>The</a:t>
            </a:r>
            <a:r>
              <a:rPr lang="es-MX" dirty="0"/>
              <a:t> </a:t>
            </a:r>
            <a:r>
              <a:rPr lang="es-MX" dirty="0" err="1"/>
              <a:t>equations</a:t>
            </a:r>
            <a:r>
              <a:rPr lang="es-MX" dirty="0"/>
              <a:t> </a:t>
            </a:r>
            <a:r>
              <a:rPr lang="es-MX" dirty="0" err="1"/>
              <a:t>of</a:t>
            </a:r>
            <a:r>
              <a:rPr lang="es-MX" dirty="0"/>
              <a:t> lateral and </a:t>
            </a:r>
            <a:r>
              <a:rPr lang="es-MX" dirty="0" err="1"/>
              <a:t>yaw</a:t>
            </a:r>
            <a:r>
              <a:rPr lang="es-MX" dirty="0"/>
              <a:t> </a:t>
            </a:r>
            <a:r>
              <a:rPr lang="es-MX" dirty="0" err="1"/>
              <a:t>motions</a:t>
            </a:r>
            <a:r>
              <a:rPr lang="es-MX" dirty="0"/>
              <a:t> </a:t>
            </a:r>
            <a:r>
              <a:rPr lang="es-MX" dirty="0" err="1"/>
              <a:t>of</a:t>
            </a:r>
            <a:r>
              <a:rPr lang="es-MX" dirty="0"/>
              <a:t> </a:t>
            </a:r>
            <a:r>
              <a:rPr lang="es-MX" dirty="0" err="1"/>
              <a:t>the</a:t>
            </a:r>
            <a:r>
              <a:rPr lang="es-MX" dirty="0"/>
              <a:t> </a:t>
            </a:r>
            <a:r>
              <a:rPr lang="es-MX" dirty="0" err="1"/>
              <a:t>vehicle</a:t>
            </a:r>
            <a:r>
              <a:rPr lang="es-MX" dirty="0"/>
              <a:t> and </a:t>
            </a:r>
            <a:r>
              <a:rPr lang="es-MX" dirty="0" err="1"/>
              <a:t>trailer</a:t>
            </a:r>
            <a:r>
              <a:rPr lang="es-MX" dirty="0"/>
              <a:t> are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Marcador de contenido 11">
                <a:extLst>
                  <a:ext uri="{FF2B5EF4-FFF2-40B4-BE49-F238E27FC236}">
                    <a16:creationId xmlns:a16="http://schemas.microsoft.com/office/drawing/2014/main" id="{374C0E9B-967D-4DA1-9710-0F22FE208A8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81235" y="3963722"/>
                <a:ext cx="7391994" cy="396330"/>
              </a:xfrm>
              <a:prstGeom prst="rect">
                <a:avLst/>
              </a:prstGeom>
            </p:spPr>
            <p:txBody>
              <a:bodyPr vert="horz" lIns="0" tIns="18000" rIns="0" bIns="18000" rtlCol="0">
                <a:normAutofit fontScale="40000" lnSpcReduction="20000"/>
              </a:bodyPr>
              <a:lstStyle>
                <a:lvl1pPr marL="177800" indent="-1778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chemeClr val="accent1"/>
                  </a:buClr>
                  <a:buSzPct val="125000"/>
                  <a:buFont typeface="Arial" pitchFamily="34" charset="0"/>
                  <a:buChar char="›"/>
                  <a:defRPr sz="1600" b="0" kern="1200">
                    <a:solidFill>
                      <a:schemeClr val="tx1"/>
                    </a:solidFill>
                    <a:latin typeface="+mn-lt"/>
                    <a:ea typeface="+mn-ea"/>
                    <a:cs typeface="Arial" pitchFamily="34" charset="0"/>
                  </a:defRPr>
                </a:lvl1pPr>
                <a:lvl2pPr marL="541338" indent="-18415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chemeClr val="accent1"/>
                  </a:buClr>
                  <a:buSzPct val="125000"/>
                  <a:buFont typeface="Arial" pitchFamily="34" charset="0"/>
                  <a:buChar char="›"/>
                  <a:defRPr sz="1600" b="0" kern="1200">
                    <a:solidFill>
                      <a:schemeClr val="tx1"/>
                    </a:solidFill>
                    <a:latin typeface="+mn-lt"/>
                    <a:ea typeface="+mn-ea"/>
                    <a:cs typeface="Arial" pitchFamily="34" charset="0"/>
                  </a:defRPr>
                </a:lvl2pPr>
                <a:lvl3pPr marL="896938" indent="-1778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chemeClr val="accent1"/>
                  </a:buClr>
                  <a:buSzPct val="125000"/>
                  <a:buFont typeface="Arial" pitchFamily="34" charset="0"/>
                  <a:buChar char="›"/>
                  <a:defRPr sz="1600" b="0" kern="1200">
                    <a:solidFill>
                      <a:schemeClr val="tx1"/>
                    </a:solidFill>
                    <a:latin typeface="+mn-lt"/>
                    <a:ea typeface="+mn-ea"/>
                    <a:cs typeface="Arial" pitchFamily="34" charset="0"/>
                  </a:defRPr>
                </a:lvl3pPr>
                <a:lvl4pPr marL="1254125" indent="-179388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chemeClr val="accent1"/>
                  </a:buClr>
                  <a:buSzPct val="125000"/>
                  <a:buFont typeface="Arial" pitchFamily="34" charset="0"/>
                  <a:buChar char="›"/>
                  <a:defRPr sz="1600" b="0" kern="1200">
                    <a:solidFill>
                      <a:schemeClr val="tx1"/>
                    </a:solidFill>
                    <a:latin typeface="+mn-lt"/>
                    <a:ea typeface="+mn-ea"/>
                    <a:cs typeface="Arial" pitchFamily="34" charset="0"/>
                  </a:defRPr>
                </a:lvl4pPr>
                <a:lvl5pPr marL="1616075" indent="-1778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chemeClr val="accent1"/>
                  </a:buClr>
                  <a:buSzPct val="125000"/>
                  <a:buFont typeface="Arial" pitchFamily="34" charset="0"/>
                  <a:buChar char="›"/>
                  <a:defRPr sz="1600" b="0" kern="1200">
                    <a:solidFill>
                      <a:schemeClr val="tx1"/>
                    </a:solidFill>
                    <a:latin typeface="+mn-lt"/>
                    <a:ea typeface="+mn-ea"/>
                    <a:cs typeface="Arial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:r>
                  <a:rPr lang="es-MX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MX" sz="4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sz="4000" i="1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s-MX" sz="4000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  <m:r>
                          <a:rPr lang="es-MX" sz="40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s-MX" sz="4000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s-MX" sz="4000" dirty="0"/>
                  <a:t> y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MX" sz="4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sz="4000" i="1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s-MX" sz="4000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  <m:r>
                          <a:rPr lang="es-MX" sz="4000" i="1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s-MX" sz="4000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4000" dirty="0"/>
                  <a:t>are the lateral accelerations at the vehicle and trailer centers of mass</a:t>
                </a:r>
                <a:br>
                  <a:rPr lang="en-US" dirty="0"/>
                </a:br>
                <a:br>
                  <a:rPr lang="en-US" dirty="0"/>
                </a:br>
                <a:endParaRPr lang="es-MX" dirty="0"/>
              </a:p>
            </p:txBody>
          </p:sp>
        </mc:Choice>
        <mc:Fallback xmlns="">
          <p:sp>
            <p:nvSpPr>
              <p:cNvPr id="13" name="Marcador de contenido 11">
                <a:extLst>
                  <a:ext uri="{FF2B5EF4-FFF2-40B4-BE49-F238E27FC236}">
                    <a16:creationId xmlns:a16="http://schemas.microsoft.com/office/drawing/2014/main" id="{374C0E9B-967D-4DA1-9710-0F22FE208A8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1235" y="3963722"/>
                <a:ext cx="7391994" cy="396330"/>
              </a:xfrm>
              <a:prstGeom prst="rect">
                <a:avLst/>
              </a:prstGeom>
              <a:blipFill>
                <a:blip r:embed="rId4"/>
                <a:stretch>
                  <a:fillRect l="-412" t="-21538"/>
                </a:stretch>
              </a:blipFill>
            </p:spPr>
            <p:txBody>
              <a:bodyPr/>
              <a:lstStyle/>
              <a:p>
                <a:r>
                  <a:rPr lang="es-MX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4" name="Grupo 13">
            <a:extLst>
              <a:ext uri="{FF2B5EF4-FFF2-40B4-BE49-F238E27FC236}">
                <a16:creationId xmlns:a16="http://schemas.microsoft.com/office/drawing/2014/main" id="{56BC2E61-044C-44DC-BB45-DFFBA9A2DAFB}"/>
              </a:ext>
            </a:extLst>
          </p:cNvPr>
          <p:cNvGrpSpPr/>
          <p:nvPr/>
        </p:nvGrpSpPr>
        <p:grpSpPr>
          <a:xfrm>
            <a:off x="613368" y="1315032"/>
            <a:ext cx="3958632" cy="2264830"/>
            <a:chOff x="1173334" y="1520015"/>
            <a:chExt cx="6363044" cy="2649341"/>
          </a:xfrm>
        </p:grpSpPr>
        <p:sp>
          <p:nvSpPr>
            <p:cNvPr id="15" name="Arc 94">
              <a:extLst>
                <a:ext uri="{FF2B5EF4-FFF2-40B4-BE49-F238E27FC236}">
                  <a16:creationId xmlns:a16="http://schemas.microsoft.com/office/drawing/2014/main" id="{BC4027DE-24FF-49F2-9A7B-AEFD46B9AFE3}"/>
                </a:ext>
              </a:extLst>
            </p:cNvPr>
            <p:cNvSpPr/>
            <p:nvPr/>
          </p:nvSpPr>
          <p:spPr>
            <a:xfrm flipH="1">
              <a:off x="3247553" y="2678333"/>
              <a:ext cx="75113" cy="102922"/>
            </a:xfrm>
            <a:prstGeom prst="arc">
              <a:avLst>
                <a:gd name="adj1" fmla="val 16200000"/>
                <a:gd name="adj2" fmla="val 4436574"/>
              </a:avLst>
            </a:prstGeom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6" name="Straight Connector 49">
              <a:extLst>
                <a:ext uri="{FF2B5EF4-FFF2-40B4-BE49-F238E27FC236}">
                  <a16:creationId xmlns:a16="http://schemas.microsoft.com/office/drawing/2014/main" id="{6EF76E4A-6C2F-421D-9961-7478689FE7D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618843" y="2581676"/>
              <a:ext cx="786188" cy="26363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54">
              <a:extLst>
                <a:ext uri="{FF2B5EF4-FFF2-40B4-BE49-F238E27FC236}">
                  <a16:creationId xmlns:a16="http://schemas.microsoft.com/office/drawing/2014/main" id="{BB26E514-F3C4-4076-B2D8-DB2A07458844}"/>
                </a:ext>
              </a:extLst>
            </p:cNvPr>
            <p:cNvCxnSpPr>
              <a:stCxn id="62" idx="7"/>
            </p:cNvCxnSpPr>
            <p:nvPr/>
          </p:nvCxnSpPr>
          <p:spPr>
            <a:xfrm flipV="1">
              <a:off x="6593709" y="2283718"/>
              <a:ext cx="792628" cy="312562"/>
            </a:xfrm>
            <a:prstGeom prst="straightConnector1">
              <a:avLst/>
            </a:prstGeom>
            <a:ln w="9525">
              <a:solidFill>
                <a:schemeClr val="bg1">
                  <a:lumMod val="6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8" name="TextBox 56">
                  <a:extLst>
                    <a:ext uri="{FF2B5EF4-FFF2-40B4-BE49-F238E27FC236}">
                      <a16:creationId xmlns:a16="http://schemas.microsoft.com/office/drawing/2014/main" id="{0AC15B9D-9F81-467D-A688-1257C58C1110}"/>
                    </a:ext>
                  </a:extLst>
                </p:cNvPr>
                <p:cNvSpPr txBox="1"/>
                <p:nvPr/>
              </p:nvSpPr>
              <p:spPr>
                <a:xfrm>
                  <a:off x="7058428" y="2342928"/>
                  <a:ext cx="303993" cy="2616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1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𝛿</m:t>
                        </m:r>
                      </m:oMath>
                    </m:oMathPara>
                  </a14:m>
                  <a:endParaRPr lang="en-US" sz="1100" dirty="0"/>
                </a:p>
              </p:txBody>
            </p:sp>
          </mc:Choice>
          <mc:Fallback xmlns="">
            <p:sp>
              <p:nvSpPr>
                <p:cNvPr id="18" name="TextBox 56">
                  <a:extLst>
                    <a:ext uri="{FF2B5EF4-FFF2-40B4-BE49-F238E27FC236}">
                      <a16:creationId xmlns:a16="http://schemas.microsoft.com/office/drawing/2014/main" id="{0AC15B9D-9F81-467D-A688-1257C58C111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058428" y="2342928"/>
                  <a:ext cx="303993" cy="261610"/>
                </a:xfrm>
                <a:prstGeom prst="rect">
                  <a:avLst/>
                </a:prstGeom>
                <a:blipFill>
                  <a:blip r:embed="rId5"/>
                  <a:stretch>
                    <a:fillRect r="-16129" b="-2703"/>
                  </a:stretch>
                </a:blipFill>
              </p:spPr>
              <p:txBody>
                <a:bodyPr/>
                <a:lstStyle/>
                <a:p>
                  <a:r>
                    <a:rPr lang="es-MX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19" name="Straight Connector 58">
              <a:extLst>
                <a:ext uri="{FF2B5EF4-FFF2-40B4-BE49-F238E27FC236}">
                  <a16:creationId xmlns:a16="http://schemas.microsoft.com/office/drawing/2014/main" id="{C9CB7D8D-BA6F-458A-A35F-66C53C8B0973}"/>
                </a:ext>
              </a:extLst>
            </p:cNvPr>
            <p:cNvCxnSpPr>
              <a:cxnSpLocks/>
              <a:stCxn id="43" idx="4"/>
            </p:cNvCxnSpPr>
            <p:nvPr/>
          </p:nvCxnSpPr>
          <p:spPr>
            <a:xfrm>
              <a:off x="5146502" y="2748554"/>
              <a:ext cx="0" cy="736031"/>
            </a:xfrm>
            <a:prstGeom prst="line">
              <a:avLst/>
            </a:prstGeom>
            <a:ln w="9525" cap="flat" cmpd="sng" algn="ctr">
              <a:solidFill>
                <a:schemeClr val="bg1">
                  <a:lumMod val="65000"/>
                </a:schemeClr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20" name="Straight Connector 59">
              <a:extLst>
                <a:ext uri="{FF2B5EF4-FFF2-40B4-BE49-F238E27FC236}">
                  <a16:creationId xmlns:a16="http://schemas.microsoft.com/office/drawing/2014/main" id="{30204451-814B-4FF9-8923-AB1634C77F89}"/>
                </a:ext>
              </a:extLst>
            </p:cNvPr>
            <p:cNvCxnSpPr>
              <a:cxnSpLocks/>
            </p:cNvCxnSpPr>
            <p:nvPr/>
          </p:nvCxnSpPr>
          <p:spPr>
            <a:xfrm>
              <a:off x="3887394" y="2067694"/>
              <a:ext cx="0" cy="1011843"/>
            </a:xfrm>
            <a:prstGeom prst="line">
              <a:avLst/>
            </a:prstGeom>
            <a:ln w="9525" cap="flat" cmpd="sng" algn="ctr">
              <a:solidFill>
                <a:schemeClr val="bg1">
                  <a:lumMod val="65000"/>
                </a:schemeClr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21" name="Straight Connector 60">
              <a:extLst>
                <a:ext uri="{FF2B5EF4-FFF2-40B4-BE49-F238E27FC236}">
                  <a16:creationId xmlns:a16="http://schemas.microsoft.com/office/drawing/2014/main" id="{5151A8FF-A9F9-473D-8771-2F84572804CA}"/>
                </a:ext>
              </a:extLst>
            </p:cNvPr>
            <p:cNvCxnSpPr>
              <a:cxnSpLocks/>
            </p:cNvCxnSpPr>
            <p:nvPr/>
          </p:nvCxnSpPr>
          <p:spPr>
            <a:xfrm>
              <a:off x="3417338" y="2752285"/>
              <a:ext cx="0" cy="732300"/>
            </a:xfrm>
            <a:prstGeom prst="line">
              <a:avLst/>
            </a:prstGeom>
            <a:ln w="9525" cap="flat" cmpd="sng" algn="ctr">
              <a:solidFill>
                <a:schemeClr val="bg1">
                  <a:lumMod val="65000"/>
                </a:schemeClr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22" name="Straight Connector 61">
              <a:extLst>
                <a:ext uri="{FF2B5EF4-FFF2-40B4-BE49-F238E27FC236}">
                  <a16:creationId xmlns:a16="http://schemas.microsoft.com/office/drawing/2014/main" id="{5B0B838F-E59F-45D2-AFA5-A40F834914B8}"/>
                </a:ext>
              </a:extLst>
            </p:cNvPr>
            <p:cNvCxnSpPr>
              <a:cxnSpLocks/>
            </p:cNvCxnSpPr>
            <p:nvPr/>
          </p:nvCxnSpPr>
          <p:spPr>
            <a:xfrm>
              <a:off x="6444208" y="2067694"/>
              <a:ext cx="0" cy="1011843"/>
            </a:xfrm>
            <a:prstGeom prst="line">
              <a:avLst/>
            </a:prstGeom>
            <a:ln w="9525" cap="flat" cmpd="sng" algn="ctr">
              <a:solidFill>
                <a:schemeClr val="bg1">
                  <a:lumMod val="65000"/>
                </a:schemeClr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23" name="Straight Arrow Connector 65">
              <a:extLst>
                <a:ext uri="{FF2B5EF4-FFF2-40B4-BE49-F238E27FC236}">
                  <a16:creationId xmlns:a16="http://schemas.microsoft.com/office/drawing/2014/main" id="{AD96FEB9-286D-476B-98BF-6FB0235D5D3B}"/>
                </a:ext>
              </a:extLst>
            </p:cNvPr>
            <p:cNvCxnSpPr>
              <a:cxnSpLocks/>
            </p:cNvCxnSpPr>
            <p:nvPr/>
          </p:nvCxnSpPr>
          <p:spPr>
            <a:xfrm>
              <a:off x="3887394" y="3059927"/>
              <a:ext cx="1259108" cy="0"/>
            </a:xfrm>
            <a:prstGeom prst="straightConnector1">
              <a:avLst/>
            </a:prstGeom>
            <a:ln w="9525">
              <a:solidFill>
                <a:schemeClr val="bg1">
                  <a:lumMod val="6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Arrow Connector 67">
              <a:extLst>
                <a:ext uri="{FF2B5EF4-FFF2-40B4-BE49-F238E27FC236}">
                  <a16:creationId xmlns:a16="http://schemas.microsoft.com/office/drawing/2014/main" id="{ED96D0B8-14F5-4F66-B923-FB1758C846EB}"/>
                </a:ext>
              </a:extLst>
            </p:cNvPr>
            <p:cNvCxnSpPr>
              <a:cxnSpLocks/>
            </p:cNvCxnSpPr>
            <p:nvPr/>
          </p:nvCxnSpPr>
          <p:spPr>
            <a:xfrm>
              <a:off x="5146502" y="3059927"/>
              <a:ext cx="1297706" cy="19610"/>
            </a:xfrm>
            <a:prstGeom prst="straightConnector1">
              <a:avLst/>
            </a:prstGeom>
            <a:ln w="9525">
              <a:solidFill>
                <a:schemeClr val="bg1">
                  <a:lumMod val="6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70">
              <a:extLst>
                <a:ext uri="{FF2B5EF4-FFF2-40B4-BE49-F238E27FC236}">
                  <a16:creationId xmlns:a16="http://schemas.microsoft.com/office/drawing/2014/main" id="{46660742-119B-4291-B2AE-ED668A8F2198}"/>
                </a:ext>
              </a:extLst>
            </p:cNvPr>
            <p:cNvCxnSpPr/>
            <p:nvPr/>
          </p:nvCxnSpPr>
          <p:spPr>
            <a:xfrm>
              <a:off x="3417338" y="3059927"/>
              <a:ext cx="470056" cy="0"/>
            </a:xfrm>
            <a:prstGeom prst="straightConnector1">
              <a:avLst/>
            </a:prstGeom>
            <a:ln w="9525">
              <a:solidFill>
                <a:schemeClr val="bg1">
                  <a:lumMod val="6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Arrow Connector 72">
              <a:extLst>
                <a:ext uri="{FF2B5EF4-FFF2-40B4-BE49-F238E27FC236}">
                  <a16:creationId xmlns:a16="http://schemas.microsoft.com/office/drawing/2014/main" id="{584916CD-86D1-46BF-BE36-13D0AA4BCEF8}"/>
                </a:ext>
              </a:extLst>
            </p:cNvPr>
            <p:cNvCxnSpPr>
              <a:cxnSpLocks/>
            </p:cNvCxnSpPr>
            <p:nvPr/>
          </p:nvCxnSpPr>
          <p:spPr>
            <a:xfrm>
              <a:off x="3392747" y="3444794"/>
              <a:ext cx="1753755" cy="0"/>
            </a:xfrm>
            <a:prstGeom prst="straightConnector1">
              <a:avLst/>
            </a:prstGeom>
            <a:ln w="9525">
              <a:solidFill>
                <a:schemeClr val="bg1">
                  <a:lumMod val="6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Arrow Connector 76">
              <a:extLst>
                <a:ext uri="{FF2B5EF4-FFF2-40B4-BE49-F238E27FC236}">
                  <a16:creationId xmlns:a16="http://schemas.microsoft.com/office/drawing/2014/main" id="{BC349412-B215-440A-B7B2-42FD1E60CEB3}"/>
                </a:ext>
              </a:extLst>
            </p:cNvPr>
            <p:cNvCxnSpPr>
              <a:cxnSpLocks/>
            </p:cNvCxnSpPr>
            <p:nvPr/>
          </p:nvCxnSpPr>
          <p:spPr>
            <a:xfrm>
              <a:off x="3887394" y="2342928"/>
              <a:ext cx="2556814" cy="0"/>
            </a:xfrm>
            <a:prstGeom prst="straightConnector1">
              <a:avLst/>
            </a:prstGeom>
            <a:ln w="9525">
              <a:solidFill>
                <a:schemeClr val="bg1">
                  <a:lumMod val="6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81">
              <a:extLst>
                <a:ext uri="{FF2B5EF4-FFF2-40B4-BE49-F238E27FC236}">
                  <a16:creationId xmlns:a16="http://schemas.microsoft.com/office/drawing/2014/main" id="{3AA1CA06-7383-4EA2-A37F-168FB691CAD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922893" y="1930106"/>
              <a:ext cx="494147" cy="779248"/>
            </a:xfrm>
            <a:prstGeom prst="line">
              <a:avLst/>
            </a:prstGeom>
            <a:ln w="9525" cap="flat" cmpd="sng" algn="ctr">
              <a:solidFill>
                <a:schemeClr val="bg1">
                  <a:lumMod val="65000"/>
                </a:schemeClr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29" name="Straight Connector 82">
              <a:extLst>
                <a:ext uri="{FF2B5EF4-FFF2-40B4-BE49-F238E27FC236}">
                  <a16:creationId xmlns:a16="http://schemas.microsoft.com/office/drawing/2014/main" id="{34AEB14E-56B3-40B6-8946-37D02FB21A7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724634" y="2608039"/>
              <a:ext cx="493953" cy="803278"/>
            </a:xfrm>
            <a:prstGeom prst="line">
              <a:avLst/>
            </a:prstGeom>
            <a:ln w="9525" cap="flat" cmpd="sng" algn="ctr">
              <a:solidFill>
                <a:schemeClr val="bg1">
                  <a:lumMod val="65000"/>
                </a:schemeClr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30" name="Straight Connector 83">
              <a:extLst>
                <a:ext uri="{FF2B5EF4-FFF2-40B4-BE49-F238E27FC236}">
                  <a16:creationId xmlns:a16="http://schemas.microsoft.com/office/drawing/2014/main" id="{31AACEB6-0CD1-4860-8323-5BC4C2D035E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604474" y="2493107"/>
              <a:ext cx="285200" cy="425635"/>
            </a:xfrm>
            <a:prstGeom prst="line">
              <a:avLst/>
            </a:prstGeom>
            <a:ln w="9525" cap="flat" cmpd="sng" algn="ctr">
              <a:solidFill>
                <a:schemeClr val="bg1">
                  <a:lumMod val="65000"/>
                </a:schemeClr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31" name="Straight Arrow Connector 85">
              <a:extLst>
                <a:ext uri="{FF2B5EF4-FFF2-40B4-BE49-F238E27FC236}">
                  <a16:creationId xmlns:a16="http://schemas.microsoft.com/office/drawing/2014/main" id="{D4DCB694-EEBF-40D3-85FA-1F2976888ED2}"/>
                </a:ext>
              </a:extLst>
            </p:cNvPr>
            <p:cNvCxnSpPr/>
            <p:nvPr/>
          </p:nvCxnSpPr>
          <p:spPr>
            <a:xfrm flipV="1">
              <a:off x="2032467" y="2630075"/>
              <a:ext cx="667325" cy="449462"/>
            </a:xfrm>
            <a:prstGeom prst="straightConnector1">
              <a:avLst/>
            </a:prstGeom>
            <a:ln w="9525">
              <a:solidFill>
                <a:schemeClr val="bg1">
                  <a:lumMod val="6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87">
              <a:extLst>
                <a:ext uri="{FF2B5EF4-FFF2-40B4-BE49-F238E27FC236}">
                  <a16:creationId xmlns:a16="http://schemas.microsoft.com/office/drawing/2014/main" id="{C62F04A3-8CE3-4982-8CFD-E57B4B25BBFD}"/>
                </a:ext>
              </a:extLst>
            </p:cNvPr>
            <p:cNvCxnSpPr/>
            <p:nvPr/>
          </p:nvCxnSpPr>
          <p:spPr>
            <a:xfrm flipV="1">
              <a:off x="2699792" y="2342928"/>
              <a:ext cx="432346" cy="274423"/>
            </a:xfrm>
            <a:prstGeom prst="straightConnector1">
              <a:avLst/>
            </a:prstGeom>
            <a:ln w="9525">
              <a:solidFill>
                <a:schemeClr val="bg1">
                  <a:lumMod val="6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89">
              <a:extLst>
                <a:ext uri="{FF2B5EF4-FFF2-40B4-BE49-F238E27FC236}">
                  <a16:creationId xmlns:a16="http://schemas.microsoft.com/office/drawing/2014/main" id="{D2A36BAD-E046-471E-963B-6AD09FCF03FA}"/>
                </a:ext>
              </a:extLst>
            </p:cNvPr>
            <p:cNvCxnSpPr/>
            <p:nvPr/>
          </p:nvCxnSpPr>
          <p:spPr>
            <a:xfrm flipV="1">
              <a:off x="1889037" y="2130627"/>
              <a:ext cx="1126240" cy="731301"/>
            </a:xfrm>
            <a:prstGeom prst="straightConnector1">
              <a:avLst/>
            </a:prstGeom>
            <a:ln w="9525">
              <a:solidFill>
                <a:schemeClr val="bg1">
                  <a:lumMod val="6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93">
              <a:extLst>
                <a:ext uri="{FF2B5EF4-FFF2-40B4-BE49-F238E27FC236}">
                  <a16:creationId xmlns:a16="http://schemas.microsoft.com/office/drawing/2014/main" id="{F7D15376-5353-424E-9D4C-57C324B5745D}"/>
                </a:ext>
              </a:extLst>
            </p:cNvPr>
            <p:cNvCxnSpPr>
              <a:stCxn id="38" idx="2"/>
            </p:cNvCxnSpPr>
            <p:nvPr/>
          </p:nvCxnSpPr>
          <p:spPr>
            <a:xfrm flipH="1" flipV="1">
              <a:off x="3059832" y="2673572"/>
              <a:ext cx="321502" cy="1"/>
            </a:xfrm>
            <a:prstGeom prst="line">
              <a:avLst/>
            </a:prstGeom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5" name="Group 14">
              <a:extLst>
                <a:ext uri="{FF2B5EF4-FFF2-40B4-BE49-F238E27FC236}">
                  <a16:creationId xmlns:a16="http://schemas.microsoft.com/office/drawing/2014/main" id="{F33D0004-6DD6-4D3D-9CAA-1E8727AC0480}"/>
                </a:ext>
              </a:extLst>
            </p:cNvPr>
            <p:cNvGrpSpPr/>
            <p:nvPr/>
          </p:nvGrpSpPr>
          <p:grpSpPr>
            <a:xfrm rot="3404244">
              <a:off x="2135859" y="3157706"/>
              <a:ext cx="249065" cy="507978"/>
              <a:chOff x="5106987" y="1347788"/>
              <a:chExt cx="1666875" cy="3495675"/>
            </a:xfrm>
          </p:grpSpPr>
          <p:sp>
            <p:nvSpPr>
              <p:cNvPr id="68" name="Freeform: Shape 10">
                <a:extLst>
                  <a:ext uri="{FF2B5EF4-FFF2-40B4-BE49-F238E27FC236}">
                    <a16:creationId xmlns:a16="http://schemas.microsoft.com/office/drawing/2014/main" id="{DD73B160-3A78-496F-B741-605B5613E8CA}"/>
                  </a:ext>
                </a:extLst>
              </p:cNvPr>
              <p:cNvSpPr/>
              <p:nvPr/>
            </p:nvSpPr>
            <p:spPr>
              <a:xfrm>
                <a:off x="5106987" y="1347788"/>
                <a:ext cx="1666875" cy="3495675"/>
              </a:xfrm>
              <a:custGeom>
                <a:avLst/>
                <a:gdLst>
                  <a:gd name="connsiteX0" fmla="*/ 1290638 w 1666875"/>
                  <a:gd name="connsiteY0" fmla="*/ 0 h 3495675"/>
                  <a:gd name="connsiteX1" fmla="*/ 376238 w 1666875"/>
                  <a:gd name="connsiteY1" fmla="*/ 0 h 3495675"/>
                  <a:gd name="connsiteX2" fmla="*/ 0 w 1666875"/>
                  <a:gd name="connsiteY2" fmla="*/ 376238 h 3495675"/>
                  <a:gd name="connsiteX3" fmla="*/ 0 w 1666875"/>
                  <a:gd name="connsiteY3" fmla="*/ 3119438 h 3495675"/>
                  <a:gd name="connsiteX4" fmla="*/ 376238 w 1666875"/>
                  <a:gd name="connsiteY4" fmla="*/ 3495675 h 3495675"/>
                  <a:gd name="connsiteX5" fmla="*/ 1290638 w 1666875"/>
                  <a:gd name="connsiteY5" fmla="*/ 3495675 h 3495675"/>
                  <a:gd name="connsiteX6" fmla="*/ 1666875 w 1666875"/>
                  <a:gd name="connsiteY6" fmla="*/ 3119438 h 3495675"/>
                  <a:gd name="connsiteX7" fmla="*/ 1666875 w 1666875"/>
                  <a:gd name="connsiteY7" fmla="*/ 376238 h 3495675"/>
                  <a:gd name="connsiteX8" fmla="*/ 1290638 w 1666875"/>
                  <a:gd name="connsiteY8" fmla="*/ 0 h 3495675"/>
                  <a:gd name="connsiteX9" fmla="*/ 1524000 w 1666875"/>
                  <a:gd name="connsiteY9" fmla="*/ 3119438 h 3495675"/>
                  <a:gd name="connsiteX10" fmla="*/ 1290638 w 1666875"/>
                  <a:gd name="connsiteY10" fmla="*/ 3352800 h 3495675"/>
                  <a:gd name="connsiteX11" fmla="*/ 376238 w 1666875"/>
                  <a:gd name="connsiteY11" fmla="*/ 3352800 h 3495675"/>
                  <a:gd name="connsiteX12" fmla="*/ 142875 w 1666875"/>
                  <a:gd name="connsiteY12" fmla="*/ 3119438 h 3495675"/>
                  <a:gd name="connsiteX13" fmla="*/ 142875 w 1666875"/>
                  <a:gd name="connsiteY13" fmla="*/ 376238 h 3495675"/>
                  <a:gd name="connsiteX14" fmla="*/ 376238 w 1666875"/>
                  <a:gd name="connsiteY14" fmla="*/ 142875 h 3495675"/>
                  <a:gd name="connsiteX15" fmla="*/ 1290638 w 1666875"/>
                  <a:gd name="connsiteY15" fmla="*/ 142875 h 3495675"/>
                  <a:gd name="connsiteX16" fmla="*/ 1524000 w 1666875"/>
                  <a:gd name="connsiteY16" fmla="*/ 376238 h 3495675"/>
                  <a:gd name="connsiteX17" fmla="*/ 1524000 w 1666875"/>
                  <a:gd name="connsiteY17" fmla="*/ 3119438 h 3495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666875" h="3495675">
                    <a:moveTo>
                      <a:pt x="1290638" y="0"/>
                    </a:moveTo>
                    <a:lnTo>
                      <a:pt x="376238" y="0"/>
                    </a:lnTo>
                    <a:cubicBezTo>
                      <a:pt x="168450" y="0"/>
                      <a:pt x="0" y="168450"/>
                      <a:pt x="0" y="376238"/>
                    </a:cubicBezTo>
                    <a:lnTo>
                      <a:pt x="0" y="3119438"/>
                    </a:lnTo>
                    <a:cubicBezTo>
                      <a:pt x="0" y="3327226"/>
                      <a:pt x="168450" y="3495675"/>
                      <a:pt x="376238" y="3495675"/>
                    </a:cubicBezTo>
                    <a:lnTo>
                      <a:pt x="1290638" y="3495675"/>
                    </a:lnTo>
                    <a:cubicBezTo>
                      <a:pt x="1498425" y="3495675"/>
                      <a:pt x="1666875" y="3327226"/>
                      <a:pt x="1666875" y="3119438"/>
                    </a:cubicBezTo>
                    <a:lnTo>
                      <a:pt x="1666875" y="376238"/>
                    </a:lnTo>
                    <a:cubicBezTo>
                      <a:pt x="1666875" y="168450"/>
                      <a:pt x="1498425" y="0"/>
                      <a:pt x="1290638" y="0"/>
                    </a:cubicBezTo>
                    <a:close/>
                    <a:moveTo>
                      <a:pt x="1524000" y="3119438"/>
                    </a:moveTo>
                    <a:cubicBezTo>
                      <a:pt x="1524000" y="3248320"/>
                      <a:pt x="1419520" y="3352800"/>
                      <a:pt x="1290638" y="3352800"/>
                    </a:cubicBezTo>
                    <a:lnTo>
                      <a:pt x="376238" y="3352800"/>
                    </a:lnTo>
                    <a:cubicBezTo>
                      <a:pt x="247355" y="3352800"/>
                      <a:pt x="142875" y="3248320"/>
                      <a:pt x="142875" y="3119438"/>
                    </a:cubicBezTo>
                    <a:lnTo>
                      <a:pt x="142875" y="376238"/>
                    </a:lnTo>
                    <a:cubicBezTo>
                      <a:pt x="142875" y="247355"/>
                      <a:pt x="247355" y="142875"/>
                      <a:pt x="376238" y="142875"/>
                    </a:cubicBezTo>
                    <a:lnTo>
                      <a:pt x="1290638" y="142875"/>
                    </a:lnTo>
                    <a:cubicBezTo>
                      <a:pt x="1419520" y="142875"/>
                      <a:pt x="1524000" y="247355"/>
                      <a:pt x="1524000" y="376238"/>
                    </a:cubicBezTo>
                    <a:lnTo>
                      <a:pt x="1524000" y="3119438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9" name="Freeform: Shape 11">
                <a:extLst>
                  <a:ext uri="{FF2B5EF4-FFF2-40B4-BE49-F238E27FC236}">
                    <a16:creationId xmlns:a16="http://schemas.microsoft.com/office/drawing/2014/main" id="{5F8382BE-56E1-44B9-8FE5-2D8F3DE4492A}"/>
                  </a:ext>
                </a:extLst>
              </p:cNvPr>
              <p:cNvSpPr/>
              <p:nvPr/>
            </p:nvSpPr>
            <p:spPr>
              <a:xfrm>
                <a:off x="5411787" y="4462463"/>
                <a:ext cx="142875" cy="152400"/>
              </a:xfrm>
              <a:custGeom>
                <a:avLst/>
                <a:gdLst>
                  <a:gd name="connsiteX0" fmla="*/ 0 w 142875"/>
                  <a:gd name="connsiteY0" fmla="*/ 0 h 152400"/>
                  <a:gd name="connsiteX1" fmla="*/ 142875 w 142875"/>
                  <a:gd name="connsiteY1" fmla="*/ 0 h 152400"/>
                  <a:gd name="connsiteX2" fmla="*/ 142875 w 142875"/>
                  <a:gd name="connsiteY2" fmla="*/ 152400 h 152400"/>
                  <a:gd name="connsiteX3" fmla="*/ 0 w 142875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875" h="152400">
                    <a:moveTo>
                      <a:pt x="0" y="0"/>
                    </a:moveTo>
                    <a:lnTo>
                      <a:pt x="142875" y="0"/>
                    </a:lnTo>
                    <a:lnTo>
                      <a:pt x="142875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0" name="Freeform: Shape 12">
                <a:extLst>
                  <a:ext uri="{FF2B5EF4-FFF2-40B4-BE49-F238E27FC236}">
                    <a16:creationId xmlns:a16="http://schemas.microsoft.com/office/drawing/2014/main" id="{E4D38158-5E30-4A6A-A395-8B3CA1DDB25A}"/>
                  </a:ext>
                </a:extLst>
              </p:cNvPr>
              <p:cNvSpPr/>
              <p:nvPr/>
            </p:nvSpPr>
            <p:spPr>
              <a:xfrm>
                <a:off x="5411787" y="1566863"/>
                <a:ext cx="1057275" cy="3048000"/>
              </a:xfrm>
              <a:custGeom>
                <a:avLst/>
                <a:gdLst>
                  <a:gd name="connsiteX0" fmla="*/ 914400 w 1057275"/>
                  <a:gd name="connsiteY0" fmla="*/ 381000 h 3048000"/>
                  <a:gd name="connsiteX1" fmla="*/ 914400 w 1057275"/>
                  <a:gd name="connsiteY1" fmla="*/ 589531 h 3048000"/>
                  <a:gd name="connsiteX2" fmla="*/ 752475 w 1057275"/>
                  <a:gd name="connsiteY2" fmla="*/ 427606 h 3048000"/>
                  <a:gd name="connsiteX3" fmla="*/ 752475 w 1057275"/>
                  <a:gd name="connsiteY3" fmla="*/ 0 h 3048000"/>
                  <a:gd name="connsiteX4" fmla="*/ 609600 w 1057275"/>
                  <a:gd name="connsiteY4" fmla="*/ 0 h 3048000"/>
                  <a:gd name="connsiteX5" fmla="*/ 609600 w 1057275"/>
                  <a:gd name="connsiteY5" fmla="*/ 122806 h 3048000"/>
                  <a:gd name="connsiteX6" fmla="*/ 447675 w 1057275"/>
                  <a:gd name="connsiteY6" fmla="*/ 284731 h 3048000"/>
                  <a:gd name="connsiteX7" fmla="*/ 447675 w 1057275"/>
                  <a:gd name="connsiteY7" fmla="*/ 0 h 3048000"/>
                  <a:gd name="connsiteX8" fmla="*/ 304800 w 1057275"/>
                  <a:gd name="connsiteY8" fmla="*/ 0 h 3048000"/>
                  <a:gd name="connsiteX9" fmla="*/ 304800 w 1057275"/>
                  <a:gd name="connsiteY9" fmla="*/ 589531 h 3048000"/>
                  <a:gd name="connsiteX10" fmla="*/ 142875 w 1057275"/>
                  <a:gd name="connsiteY10" fmla="*/ 427606 h 3048000"/>
                  <a:gd name="connsiteX11" fmla="*/ 142875 w 1057275"/>
                  <a:gd name="connsiteY11" fmla="*/ 0 h 3048000"/>
                  <a:gd name="connsiteX12" fmla="*/ 0 w 1057275"/>
                  <a:gd name="connsiteY12" fmla="*/ 0 h 3048000"/>
                  <a:gd name="connsiteX13" fmla="*/ 0 w 1057275"/>
                  <a:gd name="connsiteY13" fmla="*/ 2667000 h 3048000"/>
                  <a:gd name="connsiteX14" fmla="*/ 142875 w 1057275"/>
                  <a:gd name="connsiteY14" fmla="*/ 2667000 h 3048000"/>
                  <a:gd name="connsiteX15" fmla="*/ 142875 w 1057275"/>
                  <a:gd name="connsiteY15" fmla="*/ 2458469 h 3048000"/>
                  <a:gd name="connsiteX16" fmla="*/ 304800 w 1057275"/>
                  <a:gd name="connsiteY16" fmla="*/ 2620394 h 3048000"/>
                  <a:gd name="connsiteX17" fmla="*/ 304800 w 1057275"/>
                  <a:gd name="connsiteY17" fmla="*/ 3048000 h 3048000"/>
                  <a:gd name="connsiteX18" fmla="*/ 447675 w 1057275"/>
                  <a:gd name="connsiteY18" fmla="*/ 3048000 h 3048000"/>
                  <a:gd name="connsiteX19" fmla="*/ 447675 w 1057275"/>
                  <a:gd name="connsiteY19" fmla="*/ 2925194 h 3048000"/>
                  <a:gd name="connsiteX20" fmla="*/ 609600 w 1057275"/>
                  <a:gd name="connsiteY20" fmla="*/ 2763269 h 3048000"/>
                  <a:gd name="connsiteX21" fmla="*/ 609600 w 1057275"/>
                  <a:gd name="connsiteY21" fmla="*/ 3048000 h 3048000"/>
                  <a:gd name="connsiteX22" fmla="*/ 752475 w 1057275"/>
                  <a:gd name="connsiteY22" fmla="*/ 3048000 h 3048000"/>
                  <a:gd name="connsiteX23" fmla="*/ 752475 w 1057275"/>
                  <a:gd name="connsiteY23" fmla="*/ 2458469 h 3048000"/>
                  <a:gd name="connsiteX24" fmla="*/ 914400 w 1057275"/>
                  <a:gd name="connsiteY24" fmla="*/ 2620394 h 3048000"/>
                  <a:gd name="connsiteX25" fmla="*/ 914400 w 1057275"/>
                  <a:gd name="connsiteY25" fmla="*/ 3048000 h 3048000"/>
                  <a:gd name="connsiteX26" fmla="*/ 1057275 w 1057275"/>
                  <a:gd name="connsiteY26" fmla="*/ 3048000 h 3048000"/>
                  <a:gd name="connsiteX27" fmla="*/ 1057275 w 1057275"/>
                  <a:gd name="connsiteY27" fmla="*/ 381000 h 3048000"/>
                  <a:gd name="connsiteX28" fmla="*/ 914400 w 1057275"/>
                  <a:gd name="connsiteY28" fmla="*/ 381000 h 3048000"/>
                  <a:gd name="connsiteX29" fmla="*/ 304800 w 1057275"/>
                  <a:gd name="connsiteY29" fmla="*/ 2418331 h 3048000"/>
                  <a:gd name="connsiteX30" fmla="*/ 142875 w 1057275"/>
                  <a:gd name="connsiteY30" fmla="*/ 2256406 h 3048000"/>
                  <a:gd name="connsiteX31" fmla="*/ 142875 w 1057275"/>
                  <a:gd name="connsiteY31" fmla="*/ 1848869 h 3048000"/>
                  <a:gd name="connsiteX32" fmla="*/ 304800 w 1057275"/>
                  <a:gd name="connsiteY32" fmla="*/ 2010794 h 3048000"/>
                  <a:gd name="connsiteX33" fmla="*/ 304800 w 1057275"/>
                  <a:gd name="connsiteY33" fmla="*/ 2418331 h 3048000"/>
                  <a:gd name="connsiteX34" fmla="*/ 304800 w 1057275"/>
                  <a:gd name="connsiteY34" fmla="*/ 1808731 h 3048000"/>
                  <a:gd name="connsiteX35" fmla="*/ 142875 w 1057275"/>
                  <a:gd name="connsiteY35" fmla="*/ 1646806 h 3048000"/>
                  <a:gd name="connsiteX36" fmla="*/ 142875 w 1057275"/>
                  <a:gd name="connsiteY36" fmla="*/ 1239269 h 3048000"/>
                  <a:gd name="connsiteX37" fmla="*/ 304800 w 1057275"/>
                  <a:gd name="connsiteY37" fmla="*/ 1401194 h 3048000"/>
                  <a:gd name="connsiteX38" fmla="*/ 304800 w 1057275"/>
                  <a:gd name="connsiteY38" fmla="*/ 1808731 h 3048000"/>
                  <a:gd name="connsiteX39" fmla="*/ 304800 w 1057275"/>
                  <a:gd name="connsiteY39" fmla="*/ 1199131 h 3048000"/>
                  <a:gd name="connsiteX40" fmla="*/ 142875 w 1057275"/>
                  <a:gd name="connsiteY40" fmla="*/ 1037206 h 3048000"/>
                  <a:gd name="connsiteX41" fmla="*/ 142875 w 1057275"/>
                  <a:gd name="connsiteY41" fmla="*/ 629669 h 3048000"/>
                  <a:gd name="connsiteX42" fmla="*/ 304800 w 1057275"/>
                  <a:gd name="connsiteY42" fmla="*/ 791594 h 3048000"/>
                  <a:gd name="connsiteX43" fmla="*/ 304800 w 1057275"/>
                  <a:gd name="connsiteY43" fmla="*/ 1199131 h 3048000"/>
                  <a:gd name="connsiteX44" fmla="*/ 609600 w 1057275"/>
                  <a:gd name="connsiteY44" fmla="*/ 2561206 h 3048000"/>
                  <a:gd name="connsiteX45" fmla="*/ 447675 w 1057275"/>
                  <a:gd name="connsiteY45" fmla="*/ 2723131 h 3048000"/>
                  <a:gd name="connsiteX46" fmla="*/ 447675 w 1057275"/>
                  <a:gd name="connsiteY46" fmla="*/ 2315594 h 3048000"/>
                  <a:gd name="connsiteX47" fmla="*/ 609600 w 1057275"/>
                  <a:gd name="connsiteY47" fmla="*/ 2153669 h 3048000"/>
                  <a:gd name="connsiteX48" fmla="*/ 609600 w 1057275"/>
                  <a:gd name="connsiteY48" fmla="*/ 2561206 h 3048000"/>
                  <a:gd name="connsiteX49" fmla="*/ 609600 w 1057275"/>
                  <a:gd name="connsiteY49" fmla="*/ 1951606 h 3048000"/>
                  <a:gd name="connsiteX50" fmla="*/ 447675 w 1057275"/>
                  <a:gd name="connsiteY50" fmla="*/ 2113531 h 3048000"/>
                  <a:gd name="connsiteX51" fmla="*/ 447675 w 1057275"/>
                  <a:gd name="connsiteY51" fmla="*/ 1705994 h 3048000"/>
                  <a:gd name="connsiteX52" fmla="*/ 609600 w 1057275"/>
                  <a:gd name="connsiteY52" fmla="*/ 1544069 h 3048000"/>
                  <a:gd name="connsiteX53" fmla="*/ 609600 w 1057275"/>
                  <a:gd name="connsiteY53" fmla="*/ 1951606 h 3048000"/>
                  <a:gd name="connsiteX54" fmla="*/ 609600 w 1057275"/>
                  <a:gd name="connsiteY54" fmla="*/ 1342006 h 3048000"/>
                  <a:gd name="connsiteX55" fmla="*/ 447675 w 1057275"/>
                  <a:gd name="connsiteY55" fmla="*/ 1503931 h 3048000"/>
                  <a:gd name="connsiteX56" fmla="*/ 447675 w 1057275"/>
                  <a:gd name="connsiteY56" fmla="*/ 1096394 h 3048000"/>
                  <a:gd name="connsiteX57" fmla="*/ 609600 w 1057275"/>
                  <a:gd name="connsiteY57" fmla="*/ 934469 h 3048000"/>
                  <a:gd name="connsiteX58" fmla="*/ 609600 w 1057275"/>
                  <a:gd name="connsiteY58" fmla="*/ 1342006 h 3048000"/>
                  <a:gd name="connsiteX59" fmla="*/ 609600 w 1057275"/>
                  <a:gd name="connsiteY59" fmla="*/ 732406 h 3048000"/>
                  <a:gd name="connsiteX60" fmla="*/ 447675 w 1057275"/>
                  <a:gd name="connsiteY60" fmla="*/ 894331 h 3048000"/>
                  <a:gd name="connsiteX61" fmla="*/ 447675 w 1057275"/>
                  <a:gd name="connsiteY61" fmla="*/ 486794 h 3048000"/>
                  <a:gd name="connsiteX62" fmla="*/ 609600 w 1057275"/>
                  <a:gd name="connsiteY62" fmla="*/ 324869 h 3048000"/>
                  <a:gd name="connsiteX63" fmla="*/ 609600 w 1057275"/>
                  <a:gd name="connsiteY63" fmla="*/ 732406 h 3048000"/>
                  <a:gd name="connsiteX64" fmla="*/ 914400 w 1057275"/>
                  <a:gd name="connsiteY64" fmla="*/ 2418331 h 3048000"/>
                  <a:gd name="connsiteX65" fmla="*/ 752475 w 1057275"/>
                  <a:gd name="connsiteY65" fmla="*/ 2256406 h 3048000"/>
                  <a:gd name="connsiteX66" fmla="*/ 752475 w 1057275"/>
                  <a:gd name="connsiteY66" fmla="*/ 1848869 h 3048000"/>
                  <a:gd name="connsiteX67" fmla="*/ 914400 w 1057275"/>
                  <a:gd name="connsiteY67" fmla="*/ 2010794 h 3048000"/>
                  <a:gd name="connsiteX68" fmla="*/ 914400 w 1057275"/>
                  <a:gd name="connsiteY68" fmla="*/ 2418331 h 3048000"/>
                  <a:gd name="connsiteX69" fmla="*/ 914400 w 1057275"/>
                  <a:gd name="connsiteY69" fmla="*/ 1808731 h 3048000"/>
                  <a:gd name="connsiteX70" fmla="*/ 752475 w 1057275"/>
                  <a:gd name="connsiteY70" fmla="*/ 1646806 h 3048000"/>
                  <a:gd name="connsiteX71" fmla="*/ 752475 w 1057275"/>
                  <a:gd name="connsiteY71" fmla="*/ 1239269 h 3048000"/>
                  <a:gd name="connsiteX72" fmla="*/ 914400 w 1057275"/>
                  <a:gd name="connsiteY72" fmla="*/ 1401194 h 3048000"/>
                  <a:gd name="connsiteX73" fmla="*/ 914400 w 1057275"/>
                  <a:gd name="connsiteY73" fmla="*/ 1808731 h 3048000"/>
                  <a:gd name="connsiteX74" fmla="*/ 914400 w 1057275"/>
                  <a:gd name="connsiteY74" fmla="*/ 1199131 h 3048000"/>
                  <a:gd name="connsiteX75" fmla="*/ 752475 w 1057275"/>
                  <a:gd name="connsiteY75" fmla="*/ 1037206 h 3048000"/>
                  <a:gd name="connsiteX76" fmla="*/ 752475 w 1057275"/>
                  <a:gd name="connsiteY76" fmla="*/ 629669 h 3048000"/>
                  <a:gd name="connsiteX77" fmla="*/ 914400 w 1057275"/>
                  <a:gd name="connsiteY77" fmla="*/ 791594 h 3048000"/>
                  <a:gd name="connsiteX78" fmla="*/ 914400 w 1057275"/>
                  <a:gd name="connsiteY78" fmla="*/ 1199131 h 304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</a:cxnLst>
                <a:rect l="l" t="t" r="r" b="b"/>
                <a:pathLst>
                  <a:path w="1057275" h="3048000">
                    <a:moveTo>
                      <a:pt x="914400" y="381000"/>
                    </a:moveTo>
                    <a:lnTo>
                      <a:pt x="914400" y="589531"/>
                    </a:lnTo>
                    <a:lnTo>
                      <a:pt x="752475" y="427606"/>
                    </a:lnTo>
                    <a:lnTo>
                      <a:pt x="752475" y="0"/>
                    </a:lnTo>
                    <a:lnTo>
                      <a:pt x="609600" y="0"/>
                    </a:lnTo>
                    <a:lnTo>
                      <a:pt x="609600" y="122806"/>
                    </a:lnTo>
                    <a:lnTo>
                      <a:pt x="447675" y="284731"/>
                    </a:lnTo>
                    <a:lnTo>
                      <a:pt x="447675" y="0"/>
                    </a:lnTo>
                    <a:lnTo>
                      <a:pt x="304800" y="0"/>
                    </a:lnTo>
                    <a:lnTo>
                      <a:pt x="304800" y="589531"/>
                    </a:lnTo>
                    <a:lnTo>
                      <a:pt x="142875" y="427606"/>
                    </a:lnTo>
                    <a:lnTo>
                      <a:pt x="142875" y="0"/>
                    </a:lnTo>
                    <a:lnTo>
                      <a:pt x="0" y="0"/>
                    </a:lnTo>
                    <a:lnTo>
                      <a:pt x="0" y="2667000"/>
                    </a:lnTo>
                    <a:lnTo>
                      <a:pt x="142875" y="2667000"/>
                    </a:lnTo>
                    <a:lnTo>
                      <a:pt x="142875" y="2458469"/>
                    </a:lnTo>
                    <a:lnTo>
                      <a:pt x="304800" y="2620394"/>
                    </a:lnTo>
                    <a:lnTo>
                      <a:pt x="304800" y="3048000"/>
                    </a:lnTo>
                    <a:lnTo>
                      <a:pt x="447675" y="3048000"/>
                    </a:lnTo>
                    <a:lnTo>
                      <a:pt x="447675" y="2925194"/>
                    </a:lnTo>
                    <a:lnTo>
                      <a:pt x="609600" y="2763269"/>
                    </a:lnTo>
                    <a:lnTo>
                      <a:pt x="609600" y="3048000"/>
                    </a:lnTo>
                    <a:lnTo>
                      <a:pt x="752475" y="3048000"/>
                    </a:lnTo>
                    <a:lnTo>
                      <a:pt x="752475" y="2458469"/>
                    </a:lnTo>
                    <a:lnTo>
                      <a:pt x="914400" y="2620394"/>
                    </a:lnTo>
                    <a:lnTo>
                      <a:pt x="914400" y="3048000"/>
                    </a:lnTo>
                    <a:lnTo>
                      <a:pt x="1057275" y="3048000"/>
                    </a:lnTo>
                    <a:lnTo>
                      <a:pt x="1057275" y="381000"/>
                    </a:lnTo>
                    <a:lnTo>
                      <a:pt x="914400" y="381000"/>
                    </a:lnTo>
                    <a:close/>
                    <a:moveTo>
                      <a:pt x="304800" y="2418331"/>
                    </a:moveTo>
                    <a:lnTo>
                      <a:pt x="142875" y="2256406"/>
                    </a:lnTo>
                    <a:lnTo>
                      <a:pt x="142875" y="1848869"/>
                    </a:lnTo>
                    <a:lnTo>
                      <a:pt x="304800" y="2010794"/>
                    </a:lnTo>
                    <a:lnTo>
                      <a:pt x="304800" y="2418331"/>
                    </a:lnTo>
                    <a:close/>
                    <a:moveTo>
                      <a:pt x="304800" y="1808731"/>
                    </a:moveTo>
                    <a:lnTo>
                      <a:pt x="142875" y="1646806"/>
                    </a:lnTo>
                    <a:lnTo>
                      <a:pt x="142875" y="1239269"/>
                    </a:lnTo>
                    <a:lnTo>
                      <a:pt x="304800" y="1401194"/>
                    </a:lnTo>
                    <a:lnTo>
                      <a:pt x="304800" y="1808731"/>
                    </a:lnTo>
                    <a:close/>
                    <a:moveTo>
                      <a:pt x="304800" y="1199131"/>
                    </a:moveTo>
                    <a:lnTo>
                      <a:pt x="142875" y="1037206"/>
                    </a:lnTo>
                    <a:lnTo>
                      <a:pt x="142875" y="629669"/>
                    </a:lnTo>
                    <a:lnTo>
                      <a:pt x="304800" y="791594"/>
                    </a:lnTo>
                    <a:lnTo>
                      <a:pt x="304800" y="1199131"/>
                    </a:lnTo>
                    <a:close/>
                    <a:moveTo>
                      <a:pt x="609600" y="2561206"/>
                    </a:moveTo>
                    <a:lnTo>
                      <a:pt x="447675" y="2723131"/>
                    </a:lnTo>
                    <a:lnTo>
                      <a:pt x="447675" y="2315594"/>
                    </a:lnTo>
                    <a:lnTo>
                      <a:pt x="609600" y="2153669"/>
                    </a:lnTo>
                    <a:lnTo>
                      <a:pt x="609600" y="2561206"/>
                    </a:lnTo>
                    <a:close/>
                    <a:moveTo>
                      <a:pt x="609600" y="1951606"/>
                    </a:moveTo>
                    <a:lnTo>
                      <a:pt x="447675" y="2113531"/>
                    </a:lnTo>
                    <a:lnTo>
                      <a:pt x="447675" y="1705994"/>
                    </a:lnTo>
                    <a:lnTo>
                      <a:pt x="609600" y="1544069"/>
                    </a:lnTo>
                    <a:lnTo>
                      <a:pt x="609600" y="1951606"/>
                    </a:lnTo>
                    <a:close/>
                    <a:moveTo>
                      <a:pt x="609600" y="1342006"/>
                    </a:moveTo>
                    <a:lnTo>
                      <a:pt x="447675" y="1503931"/>
                    </a:lnTo>
                    <a:lnTo>
                      <a:pt x="447675" y="1096394"/>
                    </a:lnTo>
                    <a:lnTo>
                      <a:pt x="609600" y="934469"/>
                    </a:lnTo>
                    <a:lnTo>
                      <a:pt x="609600" y="1342006"/>
                    </a:lnTo>
                    <a:close/>
                    <a:moveTo>
                      <a:pt x="609600" y="732406"/>
                    </a:moveTo>
                    <a:lnTo>
                      <a:pt x="447675" y="894331"/>
                    </a:lnTo>
                    <a:lnTo>
                      <a:pt x="447675" y="486794"/>
                    </a:lnTo>
                    <a:lnTo>
                      <a:pt x="609600" y="324869"/>
                    </a:lnTo>
                    <a:lnTo>
                      <a:pt x="609600" y="732406"/>
                    </a:lnTo>
                    <a:close/>
                    <a:moveTo>
                      <a:pt x="914400" y="2418331"/>
                    </a:moveTo>
                    <a:lnTo>
                      <a:pt x="752475" y="2256406"/>
                    </a:lnTo>
                    <a:lnTo>
                      <a:pt x="752475" y="1848869"/>
                    </a:lnTo>
                    <a:lnTo>
                      <a:pt x="914400" y="2010794"/>
                    </a:lnTo>
                    <a:lnTo>
                      <a:pt x="914400" y="2418331"/>
                    </a:lnTo>
                    <a:close/>
                    <a:moveTo>
                      <a:pt x="914400" y="1808731"/>
                    </a:moveTo>
                    <a:lnTo>
                      <a:pt x="752475" y="1646806"/>
                    </a:lnTo>
                    <a:lnTo>
                      <a:pt x="752475" y="1239269"/>
                    </a:lnTo>
                    <a:lnTo>
                      <a:pt x="914400" y="1401194"/>
                    </a:lnTo>
                    <a:lnTo>
                      <a:pt x="914400" y="1808731"/>
                    </a:lnTo>
                    <a:close/>
                    <a:moveTo>
                      <a:pt x="914400" y="1199131"/>
                    </a:moveTo>
                    <a:lnTo>
                      <a:pt x="752475" y="1037206"/>
                    </a:lnTo>
                    <a:lnTo>
                      <a:pt x="752475" y="629669"/>
                    </a:lnTo>
                    <a:lnTo>
                      <a:pt x="914400" y="791594"/>
                    </a:lnTo>
                    <a:lnTo>
                      <a:pt x="914400" y="1199131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1" name="Freeform: Shape 13">
                <a:extLst>
                  <a:ext uri="{FF2B5EF4-FFF2-40B4-BE49-F238E27FC236}">
                    <a16:creationId xmlns:a16="http://schemas.microsoft.com/office/drawing/2014/main" id="{E89A58F3-E2DA-4F3D-BC00-5225D09F861F}"/>
                  </a:ext>
                </a:extLst>
              </p:cNvPr>
              <p:cNvSpPr/>
              <p:nvPr/>
            </p:nvSpPr>
            <p:spPr>
              <a:xfrm>
                <a:off x="6326187" y="1566863"/>
                <a:ext cx="142875" cy="152400"/>
              </a:xfrm>
              <a:custGeom>
                <a:avLst/>
                <a:gdLst>
                  <a:gd name="connsiteX0" fmla="*/ 0 w 142875"/>
                  <a:gd name="connsiteY0" fmla="*/ 0 h 152400"/>
                  <a:gd name="connsiteX1" fmla="*/ 142875 w 142875"/>
                  <a:gd name="connsiteY1" fmla="*/ 0 h 152400"/>
                  <a:gd name="connsiteX2" fmla="*/ 142875 w 142875"/>
                  <a:gd name="connsiteY2" fmla="*/ 152400 h 152400"/>
                  <a:gd name="connsiteX3" fmla="*/ 0 w 142875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875" h="152400">
                    <a:moveTo>
                      <a:pt x="0" y="0"/>
                    </a:moveTo>
                    <a:lnTo>
                      <a:pt x="142875" y="0"/>
                    </a:lnTo>
                    <a:lnTo>
                      <a:pt x="142875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cxnSp>
          <p:nvCxnSpPr>
            <p:cNvPr id="36" name="Straight Connector 20">
              <a:extLst>
                <a:ext uri="{FF2B5EF4-FFF2-40B4-BE49-F238E27FC236}">
                  <a16:creationId xmlns:a16="http://schemas.microsoft.com/office/drawing/2014/main" id="{5325530C-08E3-4088-8B31-D188E1A6DB1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74359" y="2699887"/>
              <a:ext cx="918388" cy="576064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Flowchart: Or 22">
              <a:extLst>
                <a:ext uri="{FF2B5EF4-FFF2-40B4-BE49-F238E27FC236}">
                  <a16:creationId xmlns:a16="http://schemas.microsoft.com/office/drawing/2014/main" id="{3B6BE846-AF79-45C6-80C9-A6173B8CBD0D}"/>
                </a:ext>
              </a:extLst>
            </p:cNvPr>
            <p:cNvSpPr/>
            <p:nvPr/>
          </p:nvSpPr>
          <p:spPr>
            <a:xfrm>
              <a:off x="2861545" y="2915911"/>
              <a:ext cx="144016" cy="144016"/>
            </a:xfrm>
            <a:prstGeom prst="flowChartOr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38" name="Oval 23">
              <a:extLst>
                <a:ext uri="{FF2B5EF4-FFF2-40B4-BE49-F238E27FC236}">
                  <a16:creationId xmlns:a16="http://schemas.microsoft.com/office/drawing/2014/main" id="{8691C2A9-97BA-4343-98B2-BEBFD63E4FD8}"/>
                </a:ext>
              </a:extLst>
            </p:cNvPr>
            <p:cNvSpPr/>
            <p:nvPr/>
          </p:nvSpPr>
          <p:spPr>
            <a:xfrm>
              <a:off x="3381334" y="2637792"/>
              <a:ext cx="72008" cy="71561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grpSp>
          <p:nvGrpSpPr>
            <p:cNvPr id="39" name="Group 24">
              <a:extLst>
                <a:ext uri="{FF2B5EF4-FFF2-40B4-BE49-F238E27FC236}">
                  <a16:creationId xmlns:a16="http://schemas.microsoft.com/office/drawing/2014/main" id="{B0532A69-F92D-466A-8B0B-DBBAAA304C88}"/>
                </a:ext>
              </a:extLst>
            </p:cNvPr>
            <p:cNvGrpSpPr/>
            <p:nvPr/>
          </p:nvGrpSpPr>
          <p:grpSpPr>
            <a:xfrm rot="5400000">
              <a:off x="3762862" y="2399816"/>
              <a:ext cx="249065" cy="507978"/>
              <a:chOff x="5106987" y="1347788"/>
              <a:chExt cx="1666875" cy="3495675"/>
            </a:xfrm>
          </p:grpSpPr>
          <p:sp>
            <p:nvSpPr>
              <p:cNvPr id="64" name="Freeform: Shape 25">
                <a:extLst>
                  <a:ext uri="{FF2B5EF4-FFF2-40B4-BE49-F238E27FC236}">
                    <a16:creationId xmlns:a16="http://schemas.microsoft.com/office/drawing/2014/main" id="{28229A48-AB5E-45C5-9E06-4D431C4C9CB2}"/>
                  </a:ext>
                </a:extLst>
              </p:cNvPr>
              <p:cNvSpPr/>
              <p:nvPr/>
            </p:nvSpPr>
            <p:spPr>
              <a:xfrm>
                <a:off x="5106987" y="1347788"/>
                <a:ext cx="1666875" cy="3495675"/>
              </a:xfrm>
              <a:custGeom>
                <a:avLst/>
                <a:gdLst>
                  <a:gd name="connsiteX0" fmla="*/ 1290638 w 1666875"/>
                  <a:gd name="connsiteY0" fmla="*/ 0 h 3495675"/>
                  <a:gd name="connsiteX1" fmla="*/ 376238 w 1666875"/>
                  <a:gd name="connsiteY1" fmla="*/ 0 h 3495675"/>
                  <a:gd name="connsiteX2" fmla="*/ 0 w 1666875"/>
                  <a:gd name="connsiteY2" fmla="*/ 376238 h 3495675"/>
                  <a:gd name="connsiteX3" fmla="*/ 0 w 1666875"/>
                  <a:gd name="connsiteY3" fmla="*/ 3119438 h 3495675"/>
                  <a:gd name="connsiteX4" fmla="*/ 376238 w 1666875"/>
                  <a:gd name="connsiteY4" fmla="*/ 3495675 h 3495675"/>
                  <a:gd name="connsiteX5" fmla="*/ 1290638 w 1666875"/>
                  <a:gd name="connsiteY5" fmla="*/ 3495675 h 3495675"/>
                  <a:gd name="connsiteX6" fmla="*/ 1666875 w 1666875"/>
                  <a:gd name="connsiteY6" fmla="*/ 3119438 h 3495675"/>
                  <a:gd name="connsiteX7" fmla="*/ 1666875 w 1666875"/>
                  <a:gd name="connsiteY7" fmla="*/ 376238 h 3495675"/>
                  <a:gd name="connsiteX8" fmla="*/ 1290638 w 1666875"/>
                  <a:gd name="connsiteY8" fmla="*/ 0 h 3495675"/>
                  <a:gd name="connsiteX9" fmla="*/ 1524000 w 1666875"/>
                  <a:gd name="connsiteY9" fmla="*/ 3119438 h 3495675"/>
                  <a:gd name="connsiteX10" fmla="*/ 1290638 w 1666875"/>
                  <a:gd name="connsiteY10" fmla="*/ 3352800 h 3495675"/>
                  <a:gd name="connsiteX11" fmla="*/ 376238 w 1666875"/>
                  <a:gd name="connsiteY11" fmla="*/ 3352800 h 3495675"/>
                  <a:gd name="connsiteX12" fmla="*/ 142875 w 1666875"/>
                  <a:gd name="connsiteY12" fmla="*/ 3119438 h 3495675"/>
                  <a:gd name="connsiteX13" fmla="*/ 142875 w 1666875"/>
                  <a:gd name="connsiteY13" fmla="*/ 376238 h 3495675"/>
                  <a:gd name="connsiteX14" fmla="*/ 376238 w 1666875"/>
                  <a:gd name="connsiteY14" fmla="*/ 142875 h 3495675"/>
                  <a:gd name="connsiteX15" fmla="*/ 1290638 w 1666875"/>
                  <a:gd name="connsiteY15" fmla="*/ 142875 h 3495675"/>
                  <a:gd name="connsiteX16" fmla="*/ 1524000 w 1666875"/>
                  <a:gd name="connsiteY16" fmla="*/ 376238 h 3495675"/>
                  <a:gd name="connsiteX17" fmla="*/ 1524000 w 1666875"/>
                  <a:gd name="connsiteY17" fmla="*/ 3119438 h 3495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666875" h="3495675">
                    <a:moveTo>
                      <a:pt x="1290638" y="0"/>
                    </a:moveTo>
                    <a:lnTo>
                      <a:pt x="376238" y="0"/>
                    </a:lnTo>
                    <a:cubicBezTo>
                      <a:pt x="168450" y="0"/>
                      <a:pt x="0" y="168450"/>
                      <a:pt x="0" y="376238"/>
                    </a:cubicBezTo>
                    <a:lnTo>
                      <a:pt x="0" y="3119438"/>
                    </a:lnTo>
                    <a:cubicBezTo>
                      <a:pt x="0" y="3327226"/>
                      <a:pt x="168450" y="3495675"/>
                      <a:pt x="376238" y="3495675"/>
                    </a:cubicBezTo>
                    <a:lnTo>
                      <a:pt x="1290638" y="3495675"/>
                    </a:lnTo>
                    <a:cubicBezTo>
                      <a:pt x="1498425" y="3495675"/>
                      <a:pt x="1666875" y="3327226"/>
                      <a:pt x="1666875" y="3119438"/>
                    </a:cubicBezTo>
                    <a:lnTo>
                      <a:pt x="1666875" y="376238"/>
                    </a:lnTo>
                    <a:cubicBezTo>
                      <a:pt x="1666875" y="168450"/>
                      <a:pt x="1498425" y="0"/>
                      <a:pt x="1290638" y="0"/>
                    </a:cubicBezTo>
                    <a:close/>
                    <a:moveTo>
                      <a:pt x="1524000" y="3119438"/>
                    </a:moveTo>
                    <a:cubicBezTo>
                      <a:pt x="1524000" y="3248320"/>
                      <a:pt x="1419520" y="3352800"/>
                      <a:pt x="1290638" y="3352800"/>
                    </a:cubicBezTo>
                    <a:lnTo>
                      <a:pt x="376238" y="3352800"/>
                    </a:lnTo>
                    <a:cubicBezTo>
                      <a:pt x="247355" y="3352800"/>
                      <a:pt x="142875" y="3248320"/>
                      <a:pt x="142875" y="3119438"/>
                    </a:cubicBezTo>
                    <a:lnTo>
                      <a:pt x="142875" y="376238"/>
                    </a:lnTo>
                    <a:cubicBezTo>
                      <a:pt x="142875" y="247355"/>
                      <a:pt x="247355" y="142875"/>
                      <a:pt x="376238" y="142875"/>
                    </a:cubicBezTo>
                    <a:lnTo>
                      <a:pt x="1290638" y="142875"/>
                    </a:lnTo>
                    <a:cubicBezTo>
                      <a:pt x="1419520" y="142875"/>
                      <a:pt x="1524000" y="247355"/>
                      <a:pt x="1524000" y="376238"/>
                    </a:cubicBezTo>
                    <a:lnTo>
                      <a:pt x="1524000" y="3119438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5" name="Freeform: Shape 26">
                <a:extLst>
                  <a:ext uri="{FF2B5EF4-FFF2-40B4-BE49-F238E27FC236}">
                    <a16:creationId xmlns:a16="http://schemas.microsoft.com/office/drawing/2014/main" id="{A60CB195-F16C-443C-B6F3-4D0FAF3573B2}"/>
                  </a:ext>
                </a:extLst>
              </p:cNvPr>
              <p:cNvSpPr/>
              <p:nvPr/>
            </p:nvSpPr>
            <p:spPr>
              <a:xfrm>
                <a:off x="5411787" y="4462463"/>
                <a:ext cx="142875" cy="152400"/>
              </a:xfrm>
              <a:custGeom>
                <a:avLst/>
                <a:gdLst>
                  <a:gd name="connsiteX0" fmla="*/ 0 w 142875"/>
                  <a:gd name="connsiteY0" fmla="*/ 0 h 152400"/>
                  <a:gd name="connsiteX1" fmla="*/ 142875 w 142875"/>
                  <a:gd name="connsiteY1" fmla="*/ 0 h 152400"/>
                  <a:gd name="connsiteX2" fmla="*/ 142875 w 142875"/>
                  <a:gd name="connsiteY2" fmla="*/ 152400 h 152400"/>
                  <a:gd name="connsiteX3" fmla="*/ 0 w 142875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875" h="152400">
                    <a:moveTo>
                      <a:pt x="0" y="0"/>
                    </a:moveTo>
                    <a:lnTo>
                      <a:pt x="142875" y="0"/>
                    </a:lnTo>
                    <a:lnTo>
                      <a:pt x="142875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6" name="Freeform: Shape 27">
                <a:extLst>
                  <a:ext uri="{FF2B5EF4-FFF2-40B4-BE49-F238E27FC236}">
                    <a16:creationId xmlns:a16="http://schemas.microsoft.com/office/drawing/2014/main" id="{6A5181D4-5569-4637-9294-91CEC17FFE36}"/>
                  </a:ext>
                </a:extLst>
              </p:cNvPr>
              <p:cNvSpPr/>
              <p:nvPr/>
            </p:nvSpPr>
            <p:spPr>
              <a:xfrm>
                <a:off x="5411787" y="1566863"/>
                <a:ext cx="1057275" cy="3048000"/>
              </a:xfrm>
              <a:custGeom>
                <a:avLst/>
                <a:gdLst>
                  <a:gd name="connsiteX0" fmla="*/ 914400 w 1057275"/>
                  <a:gd name="connsiteY0" fmla="*/ 381000 h 3048000"/>
                  <a:gd name="connsiteX1" fmla="*/ 914400 w 1057275"/>
                  <a:gd name="connsiteY1" fmla="*/ 589531 h 3048000"/>
                  <a:gd name="connsiteX2" fmla="*/ 752475 w 1057275"/>
                  <a:gd name="connsiteY2" fmla="*/ 427606 h 3048000"/>
                  <a:gd name="connsiteX3" fmla="*/ 752475 w 1057275"/>
                  <a:gd name="connsiteY3" fmla="*/ 0 h 3048000"/>
                  <a:gd name="connsiteX4" fmla="*/ 609600 w 1057275"/>
                  <a:gd name="connsiteY4" fmla="*/ 0 h 3048000"/>
                  <a:gd name="connsiteX5" fmla="*/ 609600 w 1057275"/>
                  <a:gd name="connsiteY5" fmla="*/ 122806 h 3048000"/>
                  <a:gd name="connsiteX6" fmla="*/ 447675 w 1057275"/>
                  <a:gd name="connsiteY6" fmla="*/ 284731 h 3048000"/>
                  <a:gd name="connsiteX7" fmla="*/ 447675 w 1057275"/>
                  <a:gd name="connsiteY7" fmla="*/ 0 h 3048000"/>
                  <a:gd name="connsiteX8" fmla="*/ 304800 w 1057275"/>
                  <a:gd name="connsiteY8" fmla="*/ 0 h 3048000"/>
                  <a:gd name="connsiteX9" fmla="*/ 304800 w 1057275"/>
                  <a:gd name="connsiteY9" fmla="*/ 589531 h 3048000"/>
                  <a:gd name="connsiteX10" fmla="*/ 142875 w 1057275"/>
                  <a:gd name="connsiteY10" fmla="*/ 427606 h 3048000"/>
                  <a:gd name="connsiteX11" fmla="*/ 142875 w 1057275"/>
                  <a:gd name="connsiteY11" fmla="*/ 0 h 3048000"/>
                  <a:gd name="connsiteX12" fmla="*/ 0 w 1057275"/>
                  <a:gd name="connsiteY12" fmla="*/ 0 h 3048000"/>
                  <a:gd name="connsiteX13" fmla="*/ 0 w 1057275"/>
                  <a:gd name="connsiteY13" fmla="*/ 2667000 h 3048000"/>
                  <a:gd name="connsiteX14" fmla="*/ 142875 w 1057275"/>
                  <a:gd name="connsiteY14" fmla="*/ 2667000 h 3048000"/>
                  <a:gd name="connsiteX15" fmla="*/ 142875 w 1057275"/>
                  <a:gd name="connsiteY15" fmla="*/ 2458469 h 3048000"/>
                  <a:gd name="connsiteX16" fmla="*/ 304800 w 1057275"/>
                  <a:gd name="connsiteY16" fmla="*/ 2620394 h 3048000"/>
                  <a:gd name="connsiteX17" fmla="*/ 304800 w 1057275"/>
                  <a:gd name="connsiteY17" fmla="*/ 3048000 h 3048000"/>
                  <a:gd name="connsiteX18" fmla="*/ 447675 w 1057275"/>
                  <a:gd name="connsiteY18" fmla="*/ 3048000 h 3048000"/>
                  <a:gd name="connsiteX19" fmla="*/ 447675 w 1057275"/>
                  <a:gd name="connsiteY19" fmla="*/ 2925194 h 3048000"/>
                  <a:gd name="connsiteX20" fmla="*/ 609600 w 1057275"/>
                  <a:gd name="connsiteY20" fmla="*/ 2763269 h 3048000"/>
                  <a:gd name="connsiteX21" fmla="*/ 609600 w 1057275"/>
                  <a:gd name="connsiteY21" fmla="*/ 3048000 h 3048000"/>
                  <a:gd name="connsiteX22" fmla="*/ 752475 w 1057275"/>
                  <a:gd name="connsiteY22" fmla="*/ 3048000 h 3048000"/>
                  <a:gd name="connsiteX23" fmla="*/ 752475 w 1057275"/>
                  <a:gd name="connsiteY23" fmla="*/ 2458469 h 3048000"/>
                  <a:gd name="connsiteX24" fmla="*/ 914400 w 1057275"/>
                  <a:gd name="connsiteY24" fmla="*/ 2620394 h 3048000"/>
                  <a:gd name="connsiteX25" fmla="*/ 914400 w 1057275"/>
                  <a:gd name="connsiteY25" fmla="*/ 3048000 h 3048000"/>
                  <a:gd name="connsiteX26" fmla="*/ 1057275 w 1057275"/>
                  <a:gd name="connsiteY26" fmla="*/ 3048000 h 3048000"/>
                  <a:gd name="connsiteX27" fmla="*/ 1057275 w 1057275"/>
                  <a:gd name="connsiteY27" fmla="*/ 381000 h 3048000"/>
                  <a:gd name="connsiteX28" fmla="*/ 914400 w 1057275"/>
                  <a:gd name="connsiteY28" fmla="*/ 381000 h 3048000"/>
                  <a:gd name="connsiteX29" fmla="*/ 304800 w 1057275"/>
                  <a:gd name="connsiteY29" fmla="*/ 2418331 h 3048000"/>
                  <a:gd name="connsiteX30" fmla="*/ 142875 w 1057275"/>
                  <a:gd name="connsiteY30" fmla="*/ 2256406 h 3048000"/>
                  <a:gd name="connsiteX31" fmla="*/ 142875 w 1057275"/>
                  <a:gd name="connsiteY31" fmla="*/ 1848869 h 3048000"/>
                  <a:gd name="connsiteX32" fmla="*/ 304800 w 1057275"/>
                  <a:gd name="connsiteY32" fmla="*/ 2010794 h 3048000"/>
                  <a:gd name="connsiteX33" fmla="*/ 304800 w 1057275"/>
                  <a:gd name="connsiteY33" fmla="*/ 2418331 h 3048000"/>
                  <a:gd name="connsiteX34" fmla="*/ 304800 w 1057275"/>
                  <a:gd name="connsiteY34" fmla="*/ 1808731 h 3048000"/>
                  <a:gd name="connsiteX35" fmla="*/ 142875 w 1057275"/>
                  <a:gd name="connsiteY35" fmla="*/ 1646806 h 3048000"/>
                  <a:gd name="connsiteX36" fmla="*/ 142875 w 1057275"/>
                  <a:gd name="connsiteY36" fmla="*/ 1239269 h 3048000"/>
                  <a:gd name="connsiteX37" fmla="*/ 304800 w 1057275"/>
                  <a:gd name="connsiteY37" fmla="*/ 1401194 h 3048000"/>
                  <a:gd name="connsiteX38" fmla="*/ 304800 w 1057275"/>
                  <a:gd name="connsiteY38" fmla="*/ 1808731 h 3048000"/>
                  <a:gd name="connsiteX39" fmla="*/ 304800 w 1057275"/>
                  <a:gd name="connsiteY39" fmla="*/ 1199131 h 3048000"/>
                  <a:gd name="connsiteX40" fmla="*/ 142875 w 1057275"/>
                  <a:gd name="connsiteY40" fmla="*/ 1037206 h 3048000"/>
                  <a:gd name="connsiteX41" fmla="*/ 142875 w 1057275"/>
                  <a:gd name="connsiteY41" fmla="*/ 629669 h 3048000"/>
                  <a:gd name="connsiteX42" fmla="*/ 304800 w 1057275"/>
                  <a:gd name="connsiteY42" fmla="*/ 791594 h 3048000"/>
                  <a:gd name="connsiteX43" fmla="*/ 304800 w 1057275"/>
                  <a:gd name="connsiteY43" fmla="*/ 1199131 h 3048000"/>
                  <a:gd name="connsiteX44" fmla="*/ 609600 w 1057275"/>
                  <a:gd name="connsiteY44" fmla="*/ 2561206 h 3048000"/>
                  <a:gd name="connsiteX45" fmla="*/ 447675 w 1057275"/>
                  <a:gd name="connsiteY45" fmla="*/ 2723131 h 3048000"/>
                  <a:gd name="connsiteX46" fmla="*/ 447675 w 1057275"/>
                  <a:gd name="connsiteY46" fmla="*/ 2315594 h 3048000"/>
                  <a:gd name="connsiteX47" fmla="*/ 609600 w 1057275"/>
                  <a:gd name="connsiteY47" fmla="*/ 2153669 h 3048000"/>
                  <a:gd name="connsiteX48" fmla="*/ 609600 w 1057275"/>
                  <a:gd name="connsiteY48" fmla="*/ 2561206 h 3048000"/>
                  <a:gd name="connsiteX49" fmla="*/ 609600 w 1057275"/>
                  <a:gd name="connsiteY49" fmla="*/ 1951606 h 3048000"/>
                  <a:gd name="connsiteX50" fmla="*/ 447675 w 1057275"/>
                  <a:gd name="connsiteY50" fmla="*/ 2113531 h 3048000"/>
                  <a:gd name="connsiteX51" fmla="*/ 447675 w 1057275"/>
                  <a:gd name="connsiteY51" fmla="*/ 1705994 h 3048000"/>
                  <a:gd name="connsiteX52" fmla="*/ 609600 w 1057275"/>
                  <a:gd name="connsiteY52" fmla="*/ 1544069 h 3048000"/>
                  <a:gd name="connsiteX53" fmla="*/ 609600 w 1057275"/>
                  <a:gd name="connsiteY53" fmla="*/ 1951606 h 3048000"/>
                  <a:gd name="connsiteX54" fmla="*/ 609600 w 1057275"/>
                  <a:gd name="connsiteY54" fmla="*/ 1342006 h 3048000"/>
                  <a:gd name="connsiteX55" fmla="*/ 447675 w 1057275"/>
                  <a:gd name="connsiteY55" fmla="*/ 1503931 h 3048000"/>
                  <a:gd name="connsiteX56" fmla="*/ 447675 w 1057275"/>
                  <a:gd name="connsiteY56" fmla="*/ 1096394 h 3048000"/>
                  <a:gd name="connsiteX57" fmla="*/ 609600 w 1057275"/>
                  <a:gd name="connsiteY57" fmla="*/ 934469 h 3048000"/>
                  <a:gd name="connsiteX58" fmla="*/ 609600 w 1057275"/>
                  <a:gd name="connsiteY58" fmla="*/ 1342006 h 3048000"/>
                  <a:gd name="connsiteX59" fmla="*/ 609600 w 1057275"/>
                  <a:gd name="connsiteY59" fmla="*/ 732406 h 3048000"/>
                  <a:gd name="connsiteX60" fmla="*/ 447675 w 1057275"/>
                  <a:gd name="connsiteY60" fmla="*/ 894331 h 3048000"/>
                  <a:gd name="connsiteX61" fmla="*/ 447675 w 1057275"/>
                  <a:gd name="connsiteY61" fmla="*/ 486794 h 3048000"/>
                  <a:gd name="connsiteX62" fmla="*/ 609600 w 1057275"/>
                  <a:gd name="connsiteY62" fmla="*/ 324869 h 3048000"/>
                  <a:gd name="connsiteX63" fmla="*/ 609600 w 1057275"/>
                  <a:gd name="connsiteY63" fmla="*/ 732406 h 3048000"/>
                  <a:gd name="connsiteX64" fmla="*/ 914400 w 1057275"/>
                  <a:gd name="connsiteY64" fmla="*/ 2418331 h 3048000"/>
                  <a:gd name="connsiteX65" fmla="*/ 752475 w 1057275"/>
                  <a:gd name="connsiteY65" fmla="*/ 2256406 h 3048000"/>
                  <a:gd name="connsiteX66" fmla="*/ 752475 w 1057275"/>
                  <a:gd name="connsiteY66" fmla="*/ 1848869 h 3048000"/>
                  <a:gd name="connsiteX67" fmla="*/ 914400 w 1057275"/>
                  <a:gd name="connsiteY67" fmla="*/ 2010794 h 3048000"/>
                  <a:gd name="connsiteX68" fmla="*/ 914400 w 1057275"/>
                  <a:gd name="connsiteY68" fmla="*/ 2418331 h 3048000"/>
                  <a:gd name="connsiteX69" fmla="*/ 914400 w 1057275"/>
                  <a:gd name="connsiteY69" fmla="*/ 1808731 h 3048000"/>
                  <a:gd name="connsiteX70" fmla="*/ 752475 w 1057275"/>
                  <a:gd name="connsiteY70" fmla="*/ 1646806 h 3048000"/>
                  <a:gd name="connsiteX71" fmla="*/ 752475 w 1057275"/>
                  <a:gd name="connsiteY71" fmla="*/ 1239269 h 3048000"/>
                  <a:gd name="connsiteX72" fmla="*/ 914400 w 1057275"/>
                  <a:gd name="connsiteY72" fmla="*/ 1401194 h 3048000"/>
                  <a:gd name="connsiteX73" fmla="*/ 914400 w 1057275"/>
                  <a:gd name="connsiteY73" fmla="*/ 1808731 h 3048000"/>
                  <a:gd name="connsiteX74" fmla="*/ 914400 w 1057275"/>
                  <a:gd name="connsiteY74" fmla="*/ 1199131 h 3048000"/>
                  <a:gd name="connsiteX75" fmla="*/ 752475 w 1057275"/>
                  <a:gd name="connsiteY75" fmla="*/ 1037206 h 3048000"/>
                  <a:gd name="connsiteX76" fmla="*/ 752475 w 1057275"/>
                  <a:gd name="connsiteY76" fmla="*/ 629669 h 3048000"/>
                  <a:gd name="connsiteX77" fmla="*/ 914400 w 1057275"/>
                  <a:gd name="connsiteY77" fmla="*/ 791594 h 3048000"/>
                  <a:gd name="connsiteX78" fmla="*/ 914400 w 1057275"/>
                  <a:gd name="connsiteY78" fmla="*/ 1199131 h 304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</a:cxnLst>
                <a:rect l="l" t="t" r="r" b="b"/>
                <a:pathLst>
                  <a:path w="1057275" h="3048000">
                    <a:moveTo>
                      <a:pt x="914400" y="381000"/>
                    </a:moveTo>
                    <a:lnTo>
                      <a:pt x="914400" y="589531"/>
                    </a:lnTo>
                    <a:lnTo>
                      <a:pt x="752475" y="427606"/>
                    </a:lnTo>
                    <a:lnTo>
                      <a:pt x="752475" y="0"/>
                    </a:lnTo>
                    <a:lnTo>
                      <a:pt x="609600" y="0"/>
                    </a:lnTo>
                    <a:lnTo>
                      <a:pt x="609600" y="122806"/>
                    </a:lnTo>
                    <a:lnTo>
                      <a:pt x="447675" y="284731"/>
                    </a:lnTo>
                    <a:lnTo>
                      <a:pt x="447675" y="0"/>
                    </a:lnTo>
                    <a:lnTo>
                      <a:pt x="304800" y="0"/>
                    </a:lnTo>
                    <a:lnTo>
                      <a:pt x="304800" y="589531"/>
                    </a:lnTo>
                    <a:lnTo>
                      <a:pt x="142875" y="427606"/>
                    </a:lnTo>
                    <a:lnTo>
                      <a:pt x="142875" y="0"/>
                    </a:lnTo>
                    <a:lnTo>
                      <a:pt x="0" y="0"/>
                    </a:lnTo>
                    <a:lnTo>
                      <a:pt x="0" y="2667000"/>
                    </a:lnTo>
                    <a:lnTo>
                      <a:pt x="142875" y="2667000"/>
                    </a:lnTo>
                    <a:lnTo>
                      <a:pt x="142875" y="2458469"/>
                    </a:lnTo>
                    <a:lnTo>
                      <a:pt x="304800" y="2620394"/>
                    </a:lnTo>
                    <a:lnTo>
                      <a:pt x="304800" y="3048000"/>
                    </a:lnTo>
                    <a:lnTo>
                      <a:pt x="447675" y="3048000"/>
                    </a:lnTo>
                    <a:lnTo>
                      <a:pt x="447675" y="2925194"/>
                    </a:lnTo>
                    <a:lnTo>
                      <a:pt x="609600" y="2763269"/>
                    </a:lnTo>
                    <a:lnTo>
                      <a:pt x="609600" y="3048000"/>
                    </a:lnTo>
                    <a:lnTo>
                      <a:pt x="752475" y="3048000"/>
                    </a:lnTo>
                    <a:lnTo>
                      <a:pt x="752475" y="2458469"/>
                    </a:lnTo>
                    <a:lnTo>
                      <a:pt x="914400" y="2620394"/>
                    </a:lnTo>
                    <a:lnTo>
                      <a:pt x="914400" y="3048000"/>
                    </a:lnTo>
                    <a:lnTo>
                      <a:pt x="1057275" y="3048000"/>
                    </a:lnTo>
                    <a:lnTo>
                      <a:pt x="1057275" y="381000"/>
                    </a:lnTo>
                    <a:lnTo>
                      <a:pt x="914400" y="381000"/>
                    </a:lnTo>
                    <a:close/>
                    <a:moveTo>
                      <a:pt x="304800" y="2418331"/>
                    </a:moveTo>
                    <a:lnTo>
                      <a:pt x="142875" y="2256406"/>
                    </a:lnTo>
                    <a:lnTo>
                      <a:pt x="142875" y="1848869"/>
                    </a:lnTo>
                    <a:lnTo>
                      <a:pt x="304800" y="2010794"/>
                    </a:lnTo>
                    <a:lnTo>
                      <a:pt x="304800" y="2418331"/>
                    </a:lnTo>
                    <a:close/>
                    <a:moveTo>
                      <a:pt x="304800" y="1808731"/>
                    </a:moveTo>
                    <a:lnTo>
                      <a:pt x="142875" y="1646806"/>
                    </a:lnTo>
                    <a:lnTo>
                      <a:pt x="142875" y="1239269"/>
                    </a:lnTo>
                    <a:lnTo>
                      <a:pt x="304800" y="1401194"/>
                    </a:lnTo>
                    <a:lnTo>
                      <a:pt x="304800" y="1808731"/>
                    </a:lnTo>
                    <a:close/>
                    <a:moveTo>
                      <a:pt x="304800" y="1199131"/>
                    </a:moveTo>
                    <a:lnTo>
                      <a:pt x="142875" y="1037206"/>
                    </a:lnTo>
                    <a:lnTo>
                      <a:pt x="142875" y="629669"/>
                    </a:lnTo>
                    <a:lnTo>
                      <a:pt x="304800" y="791594"/>
                    </a:lnTo>
                    <a:lnTo>
                      <a:pt x="304800" y="1199131"/>
                    </a:lnTo>
                    <a:close/>
                    <a:moveTo>
                      <a:pt x="609600" y="2561206"/>
                    </a:moveTo>
                    <a:lnTo>
                      <a:pt x="447675" y="2723131"/>
                    </a:lnTo>
                    <a:lnTo>
                      <a:pt x="447675" y="2315594"/>
                    </a:lnTo>
                    <a:lnTo>
                      <a:pt x="609600" y="2153669"/>
                    </a:lnTo>
                    <a:lnTo>
                      <a:pt x="609600" y="2561206"/>
                    </a:lnTo>
                    <a:close/>
                    <a:moveTo>
                      <a:pt x="609600" y="1951606"/>
                    </a:moveTo>
                    <a:lnTo>
                      <a:pt x="447675" y="2113531"/>
                    </a:lnTo>
                    <a:lnTo>
                      <a:pt x="447675" y="1705994"/>
                    </a:lnTo>
                    <a:lnTo>
                      <a:pt x="609600" y="1544069"/>
                    </a:lnTo>
                    <a:lnTo>
                      <a:pt x="609600" y="1951606"/>
                    </a:lnTo>
                    <a:close/>
                    <a:moveTo>
                      <a:pt x="609600" y="1342006"/>
                    </a:moveTo>
                    <a:lnTo>
                      <a:pt x="447675" y="1503931"/>
                    </a:lnTo>
                    <a:lnTo>
                      <a:pt x="447675" y="1096394"/>
                    </a:lnTo>
                    <a:lnTo>
                      <a:pt x="609600" y="934469"/>
                    </a:lnTo>
                    <a:lnTo>
                      <a:pt x="609600" y="1342006"/>
                    </a:lnTo>
                    <a:close/>
                    <a:moveTo>
                      <a:pt x="609600" y="732406"/>
                    </a:moveTo>
                    <a:lnTo>
                      <a:pt x="447675" y="894331"/>
                    </a:lnTo>
                    <a:lnTo>
                      <a:pt x="447675" y="486794"/>
                    </a:lnTo>
                    <a:lnTo>
                      <a:pt x="609600" y="324869"/>
                    </a:lnTo>
                    <a:lnTo>
                      <a:pt x="609600" y="732406"/>
                    </a:lnTo>
                    <a:close/>
                    <a:moveTo>
                      <a:pt x="914400" y="2418331"/>
                    </a:moveTo>
                    <a:lnTo>
                      <a:pt x="752475" y="2256406"/>
                    </a:lnTo>
                    <a:lnTo>
                      <a:pt x="752475" y="1848869"/>
                    </a:lnTo>
                    <a:lnTo>
                      <a:pt x="914400" y="2010794"/>
                    </a:lnTo>
                    <a:lnTo>
                      <a:pt x="914400" y="2418331"/>
                    </a:lnTo>
                    <a:close/>
                    <a:moveTo>
                      <a:pt x="914400" y="1808731"/>
                    </a:moveTo>
                    <a:lnTo>
                      <a:pt x="752475" y="1646806"/>
                    </a:lnTo>
                    <a:lnTo>
                      <a:pt x="752475" y="1239269"/>
                    </a:lnTo>
                    <a:lnTo>
                      <a:pt x="914400" y="1401194"/>
                    </a:lnTo>
                    <a:lnTo>
                      <a:pt x="914400" y="1808731"/>
                    </a:lnTo>
                    <a:close/>
                    <a:moveTo>
                      <a:pt x="914400" y="1199131"/>
                    </a:moveTo>
                    <a:lnTo>
                      <a:pt x="752475" y="1037206"/>
                    </a:lnTo>
                    <a:lnTo>
                      <a:pt x="752475" y="629669"/>
                    </a:lnTo>
                    <a:lnTo>
                      <a:pt x="914400" y="791594"/>
                    </a:lnTo>
                    <a:lnTo>
                      <a:pt x="914400" y="1199131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7" name="Freeform: Shape 28">
                <a:extLst>
                  <a:ext uri="{FF2B5EF4-FFF2-40B4-BE49-F238E27FC236}">
                    <a16:creationId xmlns:a16="http://schemas.microsoft.com/office/drawing/2014/main" id="{F991BA0C-EB42-4025-A674-EDA1A5273508}"/>
                  </a:ext>
                </a:extLst>
              </p:cNvPr>
              <p:cNvSpPr/>
              <p:nvPr/>
            </p:nvSpPr>
            <p:spPr>
              <a:xfrm>
                <a:off x="6326187" y="1566863"/>
                <a:ext cx="142875" cy="152400"/>
              </a:xfrm>
              <a:custGeom>
                <a:avLst/>
                <a:gdLst>
                  <a:gd name="connsiteX0" fmla="*/ 0 w 142875"/>
                  <a:gd name="connsiteY0" fmla="*/ 0 h 152400"/>
                  <a:gd name="connsiteX1" fmla="*/ 142875 w 142875"/>
                  <a:gd name="connsiteY1" fmla="*/ 0 h 152400"/>
                  <a:gd name="connsiteX2" fmla="*/ 142875 w 142875"/>
                  <a:gd name="connsiteY2" fmla="*/ 152400 h 152400"/>
                  <a:gd name="connsiteX3" fmla="*/ 0 w 142875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875" h="152400">
                    <a:moveTo>
                      <a:pt x="0" y="0"/>
                    </a:moveTo>
                    <a:lnTo>
                      <a:pt x="142875" y="0"/>
                    </a:lnTo>
                    <a:lnTo>
                      <a:pt x="142875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cxnSp>
          <p:nvCxnSpPr>
            <p:cNvPr id="40" name="Straight Connector 30">
              <a:extLst>
                <a:ext uri="{FF2B5EF4-FFF2-40B4-BE49-F238E27FC236}">
                  <a16:creationId xmlns:a16="http://schemas.microsoft.com/office/drawing/2014/main" id="{488E61BC-1EA8-4EA0-AFB7-1771C120AAF0}"/>
                </a:ext>
              </a:extLst>
            </p:cNvPr>
            <p:cNvCxnSpPr>
              <a:stCxn id="38" idx="6"/>
              <a:endCxn id="66" idx="21"/>
            </p:cNvCxnSpPr>
            <p:nvPr/>
          </p:nvCxnSpPr>
          <p:spPr>
            <a:xfrm flipV="1">
              <a:off x="3453342" y="2665902"/>
              <a:ext cx="213282" cy="7671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1" name="Group 31">
              <a:extLst>
                <a:ext uri="{FF2B5EF4-FFF2-40B4-BE49-F238E27FC236}">
                  <a16:creationId xmlns:a16="http://schemas.microsoft.com/office/drawing/2014/main" id="{3173CE43-DEE0-4004-A35E-4B85E10E31F4}"/>
                </a:ext>
              </a:extLst>
            </p:cNvPr>
            <p:cNvGrpSpPr/>
            <p:nvPr/>
          </p:nvGrpSpPr>
          <p:grpSpPr>
            <a:xfrm rot="4687937">
              <a:off x="6254259" y="2399816"/>
              <a:ext cx="249065" cy="507978"/>
              <a:chOff x="5106987" y="1347788"/>
              <a:chExt cx="1666875" cy="3495675"/>
            </a:xfrm>
          </p:grpSpPr>
          <p:sp>
            <p:nvSpPr>
              <p:cNvPr id="60" name="Freeform: Shape 32">
                <a:extLst>
                  <a:ext uri="{FF2B5EF4-FFF2-40B4-BE49-F238E27FC236}">
                    <a16:creationId xmlns:a16="http://schemas.microsoft.com/office/drawing/2014/main" id="{60E922EF-3B6F-4123-8C3A-023C8A590F83}"/>
                  </a:ext>
                </a:extLst>
              </p:cNvPr>
              <p:cNvSpPr/>
              <p:nvPr/>
            </p:nvSpPr>
            <p:spPr>
              <a:xfrm>
                <a:off x="5106987" y="1347788"/>
                <a:ext cx="1666875" cy="3495675"/>
              </a:xfrm>
              <a:custGeom>
                <a:avLst/>
                <a:gdLst>
                  <a:gd name="connsiteX0" fmla="*/ 1290638 w 1666875"/>
                  <a:gd name="connsiteY0" fmla="*/ 0 h 3495675"/>
                  <a:gd name="connsiteX1" fmla="*/ 376238 w 1666875"/>
                  <a:gd name="connsiteY1" fmla="*/ 0 h 3495675"/>
                  <a:gd name="connsiteX2" fmla="*/ 0 w 1666875"/>
                  <a:gd name="connsiteY2" fmla="*/ 376238 h 3495675"/>
                  <a:gd name="connsiteX3" fmla="*/ 0 w 1666875"/>
                  <a:gd name="connsiteY3" fmla="*/ 3119438 h 3495675"/>
                  <a:gd name="connsiteX4" fmla="*/ 376238 w 1666875"/>
                  <a:gd name="connsiteY4" fmla="*/ 3495675 h 3495675"/>
                  <a:gd name="connsiteX5" fmla="*/ 1290638 w 1666875"/>
                  <a:gd name="connsiteY5" fmla="*/ 3495675 h 3495675"/>
                  <a:gd name="connsiteX6" fmla="*/ 1666875 w 1666875"/>
                  <a:gd name="connsiteY6" fmla="*/ 3119438 h 3495675"/>
                  <a:gd name="connsiteX7" fmla="*/ 1666875 w 1666875"/>
                  <a:gd name="connsiteY7" fmla="*/ 376238 h 3495675"/>
                  <a:gd name="connsiteX8" fmla="*/ 1290638 w 1666875"/>
                  <a:gd name="connsiteY8" fmla="*/ 0 h 3495675"/>
                  <a:gd name="connsiteX9" fmla="*/ 1524000 w 1666875"/>
                  <a:gd name="connsiteY9" fmla="*/ 3119438 h 3495675"/>
                  <a:gd name="connsiteX10" fmla="*/ 1290638 w 1666875"/>
                  <a:gd name="connsiteY10" fmla="*/ 3352800 h 3495675"/>
                  <a:gd name="connsiteX11" fmla="*/ 376238 w 1666875"/>
                  <a:gd name="connsiteY11" fmla="*/ 3352800 h 3495675"/>
                  <a:gd name="connsiteX12" fmla="*/ 142875 w 1666875"/>
                  <a:gd name="connsiteY12" fmla="*/ 3119438 h 3495675"/>
                  <a:gd name="connsiteX13" fmla="*/ 142875 w 1666875"/>
                  <a:gd name="connsiteY13" fmla="*/ 376238 h 3495675"/>
                  <a:gd name="connsiteX14" fmla="*/ 376238 w 1666875"/>
                  <a:gd name="connsiteY14" fmla="*/ 142875 h 3495675"/>
                  <a:gd name="connsiteX15" fmla="*/ 1290638 w 1666875"/>
                  <a:gd name="connsiteY15" fmla="*/ 142875 h 3495675"/>
                  <a:gd name="connsiteX16" fmla="*/ 1524000 w 1666875"/>
                  <a:gd name="connsiteY16" fmla="*/ 376238 h 3495675"/>
                  <a:gd name="connsiteX17" fmla="*/ 1524000 w 1666875"/>
                  <a:gd name="connsiteY17" fmla="*/ 3119438 h 3495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666875" h="3495675">
                    <a:moveTo>
                      <a:pt x="1290638" y="0"/>
                    </a:moveTo>
                    <a:lnTo>
                      <a:pt x="376238" y="0"/>
                    </a:lnTo>
                    <a:cubicBezTo>
                      <a:pt x="168450" y="0"/>
                      <a:pt x="0" y="168450"/>
                      <a:pt x="0" y="376238"/>
                    </a:cubicBezTo>
                    <a:lnTo>
                      <a:pt x="0" y="3119438"/>
                    </a:lnTo>
                    <a:cubicBezTo>
                      <a:pt x="0" y="3327226"/>
                      <a:pt x="168450" y="3495675"/>
                      <a:pt x="376238" y="3495675"/>
                    </a:cubicBezTo>
                    <a:lnTo>
                      <a:pt x="1290638" y="3495675"/>
                    </a:lnTo>
                    <a:cubicBezTo>
                      <a:pt x="1498425" y="3495675"/>
                      <a:pt x="1666875" y="3327226"/>
                      <a:pt x="1666875" y="3119438"/>
                    </a:cubicBezTo>
                    <a:lnTo>
                      <a:pt x="1666875" y="376238"/>
                    </a:lnTo>
                    <a:cubicBezTo>
                      <a:pt x="1666875" y="168450"/>
                      <a:pt x="1498425" y="0"/>
                      <a:pt x="1290638" y="0"/>
                    </a:cubicBezTo>
                    <a:close/>
                    <a:moveTo>
                      <a:pt x="1524000" y="3119438"/>
                    </a:moveTo>
                    <a:cubicBezTo>
                      <a:pt x="1524000" y="3248320"/>
                      <a:pt x="1419520" y="3352800"/>
                      <a:pt x="1290638" y="3352800"/>
                    </a:cubicBezTo>
                    <a:lnTo>
                      <a:pt x="376238" y="3352800"/>
                    </a:lnTo>
                    <a:cubicBezTo>
                      <a:pt x="247355" y="3352800"/>
                      <a:pt x="142875" y="3248320"/>
                      <a:pt x="142875" y="3119438"/>
                    </a:cubicBezTo>
                    <a:lnTo>
                      <a:pt x="142875" y="376238"/>
                    </a:lnTo>
                    <a:cubicBezTo>
                      <a:pt x="142875" y="247355"/>
                      <a:pt x="247355" y="142875"/>
                      <a:pt x="376238" y="142875"/>
                    </a:cubicBezTo>
                    <a:lnTo>
                      <a:pt x="1290638" y="142875"/>
                    </a:lnTo>
                    <a:cubicBezTo>
                      <a:pt x="1419520" y="142875"/>
                      <a:pt x="1524000" y="247355"/>
                      <a:pt x="1524000" y="376238"/>
                    </a:cubicBezTo>
                    <a:lnTo>
                      <a:pt x="1524000" y="3119438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1" name="Freeform: Shape 33">
                <a:extLst>
                  <a:ext uri="{FF2B5EF4-FFF2-40B4-BE49-F238E27FC236}">
                    <a16:creationId xmlns:a16="http://schemas.microsoft.com/office/drawing/2014/main" id="{BFAE1218-BCFC-4F8A-93C2-DA830B68896B}"/>
                  </a:ext>
                </a:extLst>
              </p:cNvPr>
              <p:cNvSpPr/>
              <p:nvPr/>
            </p:nvSpPr>
            <p:spPr>
              <a:xfrm>
                <a:off x="5411787" y="4462463"/>
                <a:ext cx="142875" cy="152400"/>
              </a:xfrm>
              <a:custGeom>
                <a:avLst/>
                <a:gdLst>
                  <a:gd name="connsiteX0" fmla="*/ 0 w 142875"/>
                  <a:gd name="connsiteY0" fmla="*/ 0 h 152400"/>
                  <a:gd name="connsiteX1" fmla="*/ 142875 w 142875"/>
                  <a:gd name="connsiteY1" fmla="*/ 0 h 152400"/>
                  <a:gd name="connsiteX2" fmla="*/ 142875 w 142875"/>
                  <a:gd name="connsiteY2" fmla="*/ 152400 h 152400"/>
                  <a:gd name="connsiteX3" fmla="*/ 0 w 142875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875" h="152400">
                    <a:moveTo>
                      <a:pt x="0" y="0"/>
                    </a:moveTo>
                    <a:lnTo>
                      <a:pt x="142875" y="0"/>
                    </a:lnTo>
                    <a:lnTo>
                      <a:pt x="142875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" name="Freeform: Shape 34">
                <a:extLst>
                  <a:ext uri="{FF2B5EF4-FFF2-40B4-BE49-F238E27FC236}">
                    <a16:creationId xmlns:a16="http://schemas.microsoft.com/office/drawing/2014/main" id="{C1436F25-B180-412D-98F7-954C7D7F4768}"/>
                  </a:ext>
                </a:extLst>
              </p:cNvPr>
              <p:cNvSpPr/>
              <p:nvPr/>
            </p:nvSpPr>
            <p:spPr>
              <a:xfrm>
                <a:off x="5411787" y="1566863"/>
                <a:ext cx="1057275" cy="3048000"/>
              </a:xfrm>
              <a:custGeom>
                <a:avLst/>
                <a:gdLst>
                  <a:gd name="connsiteX0" fmla="*/ 914400 w 1057275"/>
                  <a:gd name="connsiteY0" fmla="*/ 381000 h 3048000"/>
                  <a:gd name="connsiteX1" fmla="*/ 914400 w 1057275"/>
                  <a:gd name="connsiteY1" fmla="*/ 589531 h 3048000"/>
                  <a:gd name="connsiteX2" fmla="*/ 752475 w 1057275"/>
                  <a:gd name="connsiteY2" fmla="*/ 427606 h 3048000"/>
                  <a:gd name="connsiteX3" fmla="*/ 752475 w 1057275"/>
                  <a:gd name="connsiteY3" fmla="*/ 0 h 3048000"/>
                  <a:gd name="connsiteX4" fmla="*/ 609600 w 1057275"/>
                  <a:gd name="connsiteY4" fmla="*/ 0 h 3048000"/>
                  <a:gd name="connsiteX5" fmla="*/ 609600 w 1057275"/>
                  <a:gd name="connsiteY5" fmla="*/ 122806 h 3048000"/>
                  <a:gd name="connsiteX6" fmla="*/ 447675 w 1057275"/>
                  <a:gd name="connsiteY6" fmla="*/ 284731 h 3048000"/>
                  <a:gd name="connsiteX7" fmla="*/ 447675 w 1057275"/>
                  <a:gd name="connsiteY7" fmla="*/ 0 h 3048000"/>
                  <a:gd name="connsiteX8" fmla="*/ 304800 w 1057275"/>
                  <a:gd name="connsiteY8" fmla="*/ 0 h 3048000"/>
                  <a:gd name="connsiteX9" fmla="*/ 304800 w 1057275"/>
                  <a:gd name="connsiteY9" fmla="*/ 589531 h 3048000"/>
                  <a:gd name="connsiteX10" fmla="*/ 142875 w 1057275"/>
                  <a:gd name="connsiteY10" fmla="*/ 427606 h 3048000"/>
                  <a:gd name="connsiteX11" fmla="*/ 142875 w 1057275"/>
                  <a:gd name="connsiteY11" fmla="*/ 0 h 3048000"/>
                  <a:gd name="connsiteX12" fmla="*/ 0 w 1057275"/>
                  <a:gd name="connsiteY12" fmla="*/ 0 h 3048000"/>
                  <a:gd name="connsiteX13" fmla="*/ 0 w 1057275"/>
                  <a:gd name="connsiteY13" fmla="*/ 2667000 h 3048000"/>
                  <a:gd name="connsiteX14" fmla="*/ 142875 w 1057275"/>
                  <a:gd name="connsiteY14" fmla="*/ 2667000 h 3048000"/>
                  <a:gd name="connsiteX15" fmla="*/ 142875 w 1057275"/>
                  <a:gd name="connsiteY15" fmla="*/ 2458469 h 3048000"/>
                  <a:gd name="connsiteX16" fmla="*/ 304800 w 1057275"/>
                  <a:gd name="connsiteY16" fmla="*/ 2620394 h 3048000"/>
                  <a:gd name="connsiteX17" fmla="*/ 304800 w 1057275"/>
                  <a:gd name="connsiteY17" fmla="*/ 3048000 h 3048000"/>
                  <a:gd name="connsiteX18" fmla="*/ 447675 w 1057275"/>
                  <a:gd name="connsiteY18" fmla="*/ 3048000 h 3048000"/>
                  <a:gd name="connsiteX19" fmla="*/ 447675 w 1057275"/>
                  <a:gd name="connsiteY19" fmla="*/ 2925194 h 3048000"/>
                  <a:gd name="connsiteX20" fmla="*/ 609600 w 1057275"/>
                  <a:gd name="connsiteY20" fmla="*/ 2763269 h 3048000"/>
                  <a:gd name="connsiteX21" fmla="*/ 609600 w 1057275"/>
                  <a:gd name="connsiteY21" fmla="*/ 3048000 h 3048000"/>
                  <a:gd name="connsiteX22" fmla="*/ 752475 w 1057275"/>
                  <a:gd name="connsiteY22" fmla="*/ 3048000 h 3048000"/>
                  <a:gd name="connsiteX23" fmla="*/ 752475 w 1057275"/>
                  <a:gd name="connsiteY23" fmla="*/ 2458469 h 3048000"/>
                  <a:gd name="connsiteX24" fmla="*/ 914400 w 1057275"/>
                  <a:gd name="connsiteY24" fmla="*/ 2620394 h 3048000"/>
                  <a:gd name="connsiteX25" fmla="*/ 914400 w 1057275"/>
                  <a:gd name="connsiteY25" fmla="*/ 3048000 h 3048000"/>
                  <a:gd name="connsiteX26" fmla="*/ 1057275 w 1057275"/>
                  <a:gd name="connsiteY26" fmla="*/ 3048000 h 3048000"/>
                  <a:gd name="connsiteX27" fmla="*/ 1057275 w 1057275"/>
                  <a:gd name="connsiteY27" fmla="*/ 381000 h 3048000"/>
                  <a:gd name="connsiteX28" fmla="*/ 914400 w 1057275"/>
                  <a:gd name="connsiteY28" fmla="*/ 381000 h 3048000"/>
                  <a:gd name="connsiteX29" fmla="*/ 304800 w 1057275"/>
                  <a:gd name="connsiteY29" fmla="*/ 2418331 h 3048000"/>
                  <a:gd name="connsiteX30" fmla="*/ 142875 w 1057275"/>
                  <a:gd name="connsiteY30" fmla="*/ 2256406 h 3048000"/>
                  <a:gd name="connsiteX31" fmla="*/ 142875 w 1057275"/>
                  <a:gd name="connsiteY31" fmla="*/ 1848869 h 3048000"/>
                  <a:gd name="connsiteX32" fmla="*/ 304800 w 1057275"/>
                  <a:gd name="connsiteY32" fmla="*/ 2010794 h 3048000"/>
                  <a:gd name="connsiteX33" fmla="*/ 304800 w 1057275"/>
                  <a:gd name="connsiteY33" fmla="*/ 2418331 h 3048000"/>
                  <a:gd name="connsiteX34" fmla="*/ 304800 w 1057275"/>
                  <a:gd name="connsiteY34" fmla="*/ 1808731 h 3048000"/>
                  <a:gd name="connsiteX35" fmla="*/ 142875 w 1057275"/>
                  <a:gd name="connsiteY35" fmla="*/ 1646806 h 3048000"/>
                  <a:gd name="connsiteX36" fmla="*/ 142875 w 1057275"/>
                  <a:gd name="connsiteY36" fmla="*/ 1239269 h 3048000"/>
                  <a:gd name="connsiteX37" fmla="*/ 304800 w 1057275"/>
                  <a:gd name="connsiteY37" fmla="*/ 1401194 h 3048000"/>
                  <a:gd name="connsiteX38" fmla="*/ 304800 w 1057275"/>
                  <a:gd name="connsiteY38" fmla="*/ 1808731 h 3048000"/>
                  <a:gd name="connsiteX39" fmla="*/ 304800 w 1057275"/>
                  <a:gd name="connsiteY39" fmla="*/ 1199131 h 3048000"/>
                  <a:gd name="connsiteX40" fmla="*/ 142875 w 1057275"/>
                  <a:gd name="connsiteY40" fmla="*/ 1037206 h 3048000"/>
                  <a:gd name="connsiteX41" fmla="*/ 142875 w 1057275"/>
                  <a:gd name="connsiteY41" fmla="*/ 629669 h 3048000"/>
                  <a:gd name="connsiteX42" fmla="*/ 304800 w 1057275"/>
                  <a:gd name="connsiteY42" fmla="*/ 791594 h 3048000"/>
                  <a:gd name="connsiteX43" fmla="*/ 304800 w 1057275"/>
                  <a:gd name="connsiteY43" fmla="*/ 1199131 h 3048000"/>
                  <a:gd name="connsiteX44" fmla="*/ 609600 w 1057275"/>
                  <a:gd name="connsiteY44" fmla="*/ 2561206 h 3048000"/>
                  <a:gd name="connsiteX45" fmla="*/ 447675 w 1057275"/>
                  <a:gd name="connsiteY45" fmla="*/ 2723131 h 3048000"/>
                  <a:gd name="connsiteX46" fmla="*/ 447675 w 1057275"/>
                  <a:gd name="connsiteY46" fmla="*/ 2315594 h 3048000"/>
                  <a:gd name="connsiteX47" fmla="*/ 609600 w 1057275"/>
                  <a:gd name="connsiteY47" fmla="*/ 2153669 h 3048000"/>
                  <a:gd name="connsiteX48" fmla="*/ 609600 w 1057275"/>
                  <a:gd name="connsiteY48" fmla="*/ 2561206 h 3048000"/>
                  <a:gd name="connsiteX49" fmla="*/ 609600 w 1057275"/>
                  <a:gd name="connsiteY49" fmla="*/ 1951606 h 3048000"/>
                  <a:gd name="connsiteX50" fmla="*/ 447675 w 1057275"/>
                  <a:gd name="connsiteY50" fmla="*/ 2113531 h 3048000"/>
                  <a:gd name="connsiteX51" fmla="*/ 447675 w 1057275"/>
                  <a:gd name="connsiteY51" fmla="*/ 1705994 h 3048000"/>
                  <a:gd name="connsiteX52" fmla="*/ 609600 w 1057275"/>
                  <a:gd name="connsiteY52" fmla="*/ 1544069 h 3048000"/>
                  <a:gd name="connsiteX53" fmla="*/ 609600 w 1057275"/>
                  <a:gd name="connsiteY53" fmla="*/ 1951606 h 3048000"/>
                  <a:gd name="connsiteX54" fmla="*/ 609600 w 1057275"/>
                  <a:gd name="connsiteY54" fmla="*/ 1342006 h 3048000"/>
                  <a:gd name="connsiteX55" fmla="*/ 447675 w 1057275"/>
                  <a:gd name="connsiteY55" fmla="*/ 1503931 h 3048000"/>
                  <a:gd name="connsiteX56" fmla="*/ 447675 w 1057275"/>
                  <a:gd name="connsiteY56" fmla="*/ 1096394 h 3048000"/>
                  <a:gd name="connsiteX57" fmla="*/ 609600 w 1057275"/>
                  <a:gd name="connsiteY57" fmla="*/ 934469 h 3048000"/>
                  <a:gd name="connsiteX58" fmla="*/ 609600 w 1057275"/>
                  <a:gd name="connsiteY58" fmla="*/ 1342006 h 3048000"/>
                  <a:gd name="connsiteX59" fmla="*/ 609600 w 1057275"/>
                  <a:gd name="connsiteY59" fmla="*/ 732406 h 3048000"/>
                  <a:gd name="connsiteX60" fmla="*/ 447675 w 1057275"/>
                  <a:gd name="connsiteY60" fmla="*/ 894331 h 3048000"/>
                  <a:gd name="connsiteX61" fmla="*/ 447675 w 1057275"/>
                  <a:gd name="connsiteY61" fmla="*/ 486794 h 3048000"/>
                  <a:gd name="connsiteX62" fmla="*/ 609600 w 1057275"/>
                  <a:gd name="connsiteY62" fmla="*/ 324869 h 3048000"/>
                  <a:gd name="connsiteX63" fmla="*/ 609600 w 1057275"/>
                  <a:gd name="connsiteY63" fmla="*/ 732406 h 3048000"/>
                  <a:gd name="connsiteX64" fmla="*/ 914400 w 1057275"/>
                  <a:gd name="connsiteY64" fmla="*/ 2418331 h 3048000"/>
                  <a:gd name="connsiteX65" fmla="*/ 752475 w 1057275"/>
                  <a:gd name="connsiteY65" fmla="*/ 2256406 h 3048000"/>
                  <a:gd name="connsiteX66" fmla="*/ 752475 w 1057275"/>
                  <a:gd name="connsiteY66" fmla="*/ 1848869 h 3048000"/>
                  <a:gd name="connsiteX67" fmla="*/ 914400 w 1057275"/>
                  <a:gd name="connsiteY67" fmla="*/ 2010794 h 3048000"/>
                  <a:gd name="connsiteX68" fmla="*/ 914400 w 1057275"/>
                  <a:gd name="connsiteY68" fmla="*/ 2418331 h 3048000"/>
                  <a:gd name="connsiteX69" fmla="*/ 914400 w 1057275"/>
                  <a:gd name="connsiteY69" fmla="*/ 1808731 h 3048000"/>
                  <a:gd name="connsiteX70" fmla="*/ 752475 w 1057275"/>
                  <a:gd name="connsiteY70" fmla="*/ 1646806 h 3048000"/>
                  <a:gd name="connsiteX71" fmla="*/ 752475 w 1057275"/>
                  <a:gd name="connsiteY71" fmla="*/ 1239269 h 3048000"/>
                  <a:gd name="connsiteX72" fmla="*/ 914400 w 1057275"/>
                  <a:gd name="connsiteY72" fmla="*/ 1401194 h 3048000"/>
                  <a:gd name="connsiteX73" fmla="*/ 914400 w 1057275"/>
                  <a:gd name="connsiteY73" fmla="*/ 1808731 h 3048000"/>
                  <a:gd name="connsiteX74" fmla="*/ 914400 w 1057275"/>
                  <a:gd name="connsiteY74" fmla="*/ 1199131 h 3048000"/>
                  <a:gd name="connsiteX75" fmla="*/ 752475 w 1057275"/>
                  <a:gd name="connsiteY75" fmla="*/ 1037206 h 3048000"/>
                  <a:gd name="connsiteX76" fmla="*/ 752475 w 1057275"/>
                  <a:gd name="connsiteY76" fmla="*/ 629669 h 3048000"/>
                  <a:gd name="connsiteX77" fmla="*/ 914400 w 1057275"/>
                  <a:gd name="connsiteY77" fmla="*/ 791594 h 3048000"/>
                  <a:gd name="connsiteX78" fmla="*/ 914400 w 1057275"/>
                  <a:gd name="connsiteY78" fmla="*/ 1199131 h 304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</a:cxnLst>
                <a:rect l="l" t="t" r="r" b="b"/>
                <a:pathLst>
                  <a:path w="1057275" h="3048000">
                    <a:moveTo>
                      <a:pt x="914400" y="381000"/>
                    </a:moveTo>
                    <a:lnTo>
                      <a:pt x="914400" y="589531"/>
                    </a:lnTo>
                    <a:lnTo>
                      <a:pt x="752475" y="427606"/>
                    </a:lnTo>
                    <a:lnTo>
                      <a:pt x="752475" y="0"/>
                    </a:lnTo>
                    <a:lnTo>
                      <a:pt x="609600" y="0"/>
                    </a:lnTo>
                    <a:lnTo>
                      <a:pt x="609600" y="122806"/>
                    </a:lnTo>
                    <a:lnTo>
                      <a:pt x="447675" y="284731"/>
                    </a:lnTo>
                    <a:lnTo>
                      <a:pt x="447675" y="0"/>
                    </a:lnTo>
                    <a:lnTo>
                      <a:pt x="304800" y="0"/>
                    </a:lnTo>
                    <a:lnTo>
                      <a:pt x="304800" y="589531"/>
                    </a:lnTo>
                    <a:lnTo>
                      <a:pt x="142875" y="427606"/>
                    </a:lnTo>
                    <a:lnTo>
                      <a:pt x="142875" y="0"/>
                    </a:lnTo>
                    <a:lnTo>
                      <a:pt x="0" y="0"/>
                    </a:lnTo>
                    <a:lnTo>
                      <a:pt x="0" y="2667000"/>
                    </a:lnTo>
                    <a:lnTo>
                      <a:pt x="142875" y="2667000"/>
                    </a:lnTo>
                    <a:lnTo>
                      <a:pt x="142875" y="2458469"/>
                    </a:lnTo>
                    <a:lnTo>
                      <a:pt x="304800" y="2620394"/>
                    </a:lnTo>
                    <a:lnTo>
                      <a:pt x="304800" y="3048000"/>
                    </a:lnTo>
                    <a:lnTo>
                      <a:pt x="447675" y="3048000"/>
                    </a:lnTo>
                    <a:lnTo>
                      <a:pt x="447675" y="2925194"/>
                    </a:lnTo>
                    <a:lnTo>
                      <a:pt x="609600" y="2763269"/>
                    </a:lnTo>
                    <a:lnTo>
                      <a:pt x="609600" y="3048000"/>
                    </a:lnTo>
                    <a:lnTo>
                      <a:pt x="752475" y="3048000"/>
                    </a:lnTo>
                    <a:lnTo>
                      <a:pt x="752475" y="2458469"/>
                    </a:lnTo>
                    <a:lnTo>
                      <a:pt x="914400" y="2620394"/>
                    </a:lnTo>
                    <a:lnTo>
                      <a:pt x="914400" y="3048000"/>
                    </a:lnTo>
                    <a:lnTo>
                      <a:pt x="1057275" y="3048000"/>
                    </a:lnTo>
                    <a:lnTo>
                      <a:pt x="1057275" y="381000"/>
                    </a:lnTo>
                    <a:lnTo>
                      <a:pt x="914400" y="381000"/>
                    </a:lnTo>
                    <a:close/>
                    <a:moveTo>
                      <a:pt x="304800" y="2418331"/>
                    </a:moveTo>
                    <a:lnTo>
                      <a:pt x="142875" y="2256406"/>
                    </a:lnTo>
                    <a:lnTo>
                      <a:pt x="142875" y="1848869"/>
                    </a:lnTo>
                    <a:lnTo>
                      <a:pt x="304800" y="2010794"/>
                    </a:lnTo>
                    <a:lnTo>
                      <a:pt x="304800" y="2418331"/>
                    </a:lnTo>
                    <a:close/>
                    <a:moveTo>
                      <a:pt x="304800" y="1808731"/>
                    </a:moveTo>
                    <a:lnTo>
                      <a:pt x="142875" y="1646806"/>
                    </a:lnTo>
                    <a:lnTo>
                      <a:pt x="142875" y="1239269"/>
                    </a:lnTo>
                    <a:lnTo>
                      <a:pt x="304800" y="1401194"/>
                    </a:lnTo>
                    <a:lnTo>
                      <a:pt x="304800" y="1808731"/>
                    </a:lnTo>
                    <a:close/>
                    <a:moveTo>
                      <a:pt x="304800" y="1199131"/>
                    </a:moveTo>
                    <a:lnTo>
                      <a:pt x="142875" y="1037206"/>
                    </a:lnTo>
                    <a:lnTo>
                      <a:pt x="142875" y="629669"/>
                    </a:lnTo>
                    <a:lnTo>
                      <a:pt x="304800" y="791594"/>
                    </a:lnTo>
                    <a:lnTo>
                      <a:pt x="304800" y="1199131"/>
                    </a:lnTo>
                    <a:close/>
                    <a:moveTo>
                      <a:pt x="609600" y="2561206"/>
                    </a:moveTo>
                    <a:lnTo>
                      <a:pt x="447675" y="2723131"/>
                    </a:lnTo>
                    <a:lnTo>
                      <a:pt x="447675" y="2315594"/>
                    </a:lnTo>
                    <a:lnTo>
                      <a:pt x="609600" y="2153669"/>
                    </a:lnTo>
                    <a:lnTo>
                      <a:pt x="609600" y="2561206"/>
                    </a:lnTo>
                    <a:close/>
                    <a:moveTo>
                      <a:pt x="609600" y="1951606"/>
                    </a:moveTo>
                    <a:lnTo>
                      <a:pt x="447675" y="2113531"/>
                    </a:lnTo>
                    <a:lnTo>
                      <a:pt x="447675" y="1705994"/>
                    </a:lnTo>
                    <a:lnTo>
                      <a:pt x="609600" y="1544069"/>
                    </a:lnTo>
                    <a:lnTo>
                      <a:pt x="609600" y="1951606"/>
                    </a:lnTo>
                    <a:close/>
                    <a:moveTo>
                      <a:pt x="609600" y="1342006"/>
                    </a:moveTo>
                    <a:lnTo>
                      <a:pt x="447675" y="1503931"/>
                    </a:lnTo>
                    <a:lnTo>
                      <a:pt x="447675" y="1096394"/>
                    </a:lnTo>
                    <a:lnTo>
                      <a:pt x="609600" y="934469"/>
                    </a:lnTo>
                    <a:lnTo>
                      <a:pt x="609600" y="1342006"/>
                    </a:lnTo>
                    <a:close/>
                    <a:moveTo>
                      <a:pt x="609600" y="732406"/>
                    </a:moveTo>
                    <a:lnTo>
                      <a:pt x="447675" y="894331"/>
                    </a:lnTo>
                    <a:lnTo>
                      <a:pt x="447675" y="486794"/>
                    </a:lnTo>
                    <a:lnTo>
                      <a:pt x="609600" y="324869"/>
                    </a:lnTo>
                    <a:lnTo>
                      <a:pt x="609600" y="732406"/>
                    </a:lnTo>
                    <a:close/>
                    <a:moveTo>
                      <a:pt x="914400" y="2418331"/>
                    </a:moveTo>
                    <a:lnTo>
                      <a:pt x="752475" y="2256406"/>
                    </a:lnTo>
                    <a:lnTo>
                      <a:pt x="752475" y="1848869"/>
                    </a:lnTo>
                    <a:lnTo>
                      <a:pt x="914400" y="2010794"/>
                    </a:lnTo>
                    <a:lnTo>
                      <a:pt x="914400" y="2418331"/>
                    </a:lnTo>
                    <a:close/>
                    <a:moveTo>
                      <a:pt x="914400" y="1808731"/>
                    </a:moveTo>
                    <a:lnTo>
                      <a:pt x="752475" y="1646806"/>
                    </a:lnTo>
                    <a:lnTo>
                      <a:pt x="752475" y="1239269"/>
                    </a:lnTo>
                    <a:lnTo>
                      <a:pt x="914400" y="1401194"/>
                    </a:lnTo>
                    <a:lnTo>
                      <a:pt x="914400" y="1808731"/>
                    </a:lnTo>
                    <a:close/>
                    <a:moveTo>
                      <a:pt x="914400" y="1199131"/>
                    </a:moveTo>
                    <a:lnTo>
                      <a:pt x="752475" y="1037206"/>
                    </a:lnTo>
                    <a:lnTo>
                      <a:pt x="752475" y="629669"/>
                    </a:lnTo>
                    <a:lnTo>
                      <a:pt x="914400" y="791594"/>
                    </a:lnTo>
                    <a:lnTo>
                      <a:pt x="914400" y="1199131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3" name="Freeform: Shape 35">
                <a:extLst>
                  <a:ext uri="{FF2B5EF4-FFF2-40B4-BE49-F238E27FC236}">
                    <a16:creationId xmlns:a16="http://schemas.microsoft.com/office/drawing/2014/main" id="{B03DF2F1-1DC8-4A09-BB09-B04ABF6F8C63}"/>
                  </a:ext>
                </a:extLst>
              </p:cNvPr>
              <p:cNvSpPr/>
              <p:nvPr/>
            </p:nvSpPr>
            <p:spPr>
              <a:xfrm>
                <a:off x="6326187" y="1566863"/>
                <a:ext cx="142875" cy="152400"/>
              </a:xfrm>
              <a:custGeom>
                <a:avLst/>
                <a:gdLst>
                  <a:gd name="connsiteX0" fmla="*/ 0 w 142875"/>
                  <a:gd name="connsiteY0" fmla="*/ 0 h 152400"/>
                  <a:gd name="connsiteX1" fmla="*/ 142875 w 142875"/>
                  <a:gd name="connsiteY1" fmla="*/ 0 h 152400"/>
                  <a:gd name="connsiteX2" fmla="*/ 142875 w 142875"/>
                  <a:gd name="connsiteY2" fmla="*/ 152400 h 152400"/>
                  <a:gd name="connsiteX3" fmla="*/ 0 w 142875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875" h="152400">
                    <a:moveTo>
                      <a:pt x="0" y="0"/>
                    </a:moveTo>
                    <a:lnTo>
                      <a:pt x="142875" y="0"/>
                    </a:lnTo>
                    <a:lnTo>
                      <a:pt x="142875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cxnSp>
          <p:nvCxnSpPr>
            <p:cNvPr id="42" name="Straight Connector 39">
              <a:extLst>
                <a:ext uri="{FF2B5EF4-FFF2-40B4-BE49-F238E27FC236}">
                  <a16:creationId xmlns:a16="http://schemas.microsoft.com/office/drawing/2014/main" id="{710EE0FC-CBEA-4DAF-9A4C-A1888FCEB742}"/>
                </a:ext>
              </a:extLst>
            </p:cNvPr>
            <p:cNvCxnSpPr>
              <a:stCxn id="62" idx="44"/>
              <a:endCxn id="66" idx="54"/>
            </p:cNvCxnSpPr>
            <p:nvPr/>
          </p:nvCxnSpPr>
          <p:spPr>
            <a:xfrm flipH="1" flipV="1">
              <a:off x="3914533" y="2665902"/>
              <a:ext cx="2319922" cy="3059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Flowchart: Or 40">
              <a:extLst>
                <a:ext uri="{FF2B5EF4-FFF2-40B4-BE49-F238E27FC236}">
                  <a16:creationId xmlns:a16="http://schemas.microsoft.com/office/drawing/2014/main" id="{AD850772-7211-4BB7-A162-E94005EEF894}"/>
                </a:ext>
              </a:extLst>
            </p:cNvPr>
            <p:cNvSpPr/>
            <p:nvPr/>
          </p:nvSpPr>
          <p:spPr>
            <a:xfrm>
              <a:off x="5074494" y="2604538"/>
              <a:ext cx="144016" cy="144016"/>
            </a:xfrm>
            <a:prstGeom prst="flowChartOr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cxnSp>
          <p:nvCxnSpPr>
            <p:cNvPr id="44" name="Straight Arrow Connector 42">
              <a:extLst>
                <a:ext uri="{FF2B5EF4-FFF2-40B4-BE49-F238E27FC236}">
                  <a16:creationId xmlns:a16="http://schemas.microsoft.com/office/drawing/2014/main" id="{CF273532-5179-46FC-BD8E-907DCBA74EF2}"/>
                </a:ext>
              </a:extLst>
            </p:cNvPr>
            <p:cNvCxnSpPr>
              <a:cxnSpLocks/>
            </p:cNvCxnSpPr>
            <p:nvPr/>
          </p:nvCxnSpPr>
          <p:spPr>
            <a:xfrm>
              <a:off x="1323375" y="1707654"/>
              <a:ext cx="5912921" cy="0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Arrow Connector 44">
              <a:extLst>
                <a:ext uri="{FF2B5EF4-FFF2-40B4-BE49-F238E27FC236}">
                  <a16:creationId xmlns:a16="http://schemas.microsoft.com/office/drawing/2014/main" id="{33F07ABF-6EC7-4C62-BCA1-99AE39728977}"/>
                </a:ext>
              </a:extLst>
            </p:cNvPr>
            <p:cNvCxnSpPr>
              <a:cxnSpLocks/>
            </p:cNvCxnSpPr>
            <p:nvPr/>
          </p:nvCxnSpPr>
          <p:spPr>
            <a:xfrm>
              <a:off x="1453647" y="1520015"/>
              <a:ext cx="0" cy="2560930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E9B19154-4146-4374-A2BB-A95620D808FC}"/>
                </a:ext>
              </a:extLst>
            </p:cNvPr>
            <p:cNvSpPr txBox="1"/>
            <p:nvPr/>
          </p:nvSpPr>
          <p:spPr>
            <a:xfrm>
              <a:off x="7236296" y="1522988"/>
              <a:ext cx="30008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MX" dirty="0"/>
                <a:t>x</a:t>
              </a:r>
              <a:endParaRPr lang="en-US" dirty="0"/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F50E23A8-8D1E-4105-BF03-231B7E9C67AA}"/>
                </a:ext>
              </a:extLst>
            </p:cNvPr>
            <p:cNvSpPr txBox="1"/>
            <p:nvPr/>
          </p:nvSpPr>
          <p:spPr>
            <a:xfrm>
              <a:off x="1173334" y="3800024"/>
              <a:ext cx="30008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MX" dirty="0"/>
                <a:t>y</a:t>
              </a:r>
              <a:endParaRPr lang="en-US" dirty="0"/>
            </a:p>
          </p:txBody>
        </p:sp>
        <p:sp>
          <p:nvSpPr>
            <p:cNvPr id="48" name="Arc 55">
              <a:extLst>
                <a:ext uri="{FF2B5EF4-FFF2-40B4-BE49-F238E27FC236}">
                  <a16:creationId xmlns:a16="http://schemas.microsoft.com/office/drawing/2014/main" id="{68FE4ACC-B437-4189-B755-852D17367022}"/>
                </a:ext>
              </a:extLst>
            </p:cNvPr>
            <p:cNvSpPr/>
            <p:nvPr/>
          </p:nvSpPr>
          <p:spPr>
            <a:xfrm rot="1072984">
              <a:off x="6901251" y="2413006"/>
              <a:ext cx="224359" cy="308555"/>
            </a:xfrm>
            <a:prstGeom prst="arc">
              <a:avLst>
                <a:gd name="adj1" fmla="val 16199989"/>
                <a:gd name="adj2" fmla="val 0"/>
              </a:avLst>
            </a:prstGeom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9" name="TextBox 95">
                  <a:extLst>
                    <a:ext uri="{FF2B5EF4-FFF2-40B4-BE49-F238E27FC236}">
                      <a16:creationId xmlns:a16="http://schemas.microsoft.com/office/drawing/2014/main" id="{16ABD0A0-B566-46CD-AED9-23681106746D}"/>
                    </a:ext>
                  </a:extLst>
                </p:cNvPr>
                <p:cNvSpPr txBox="1"/>
                <p:nvPr/>
              </p:nvSpPr>
              <p:spPr>
                <a:xfrm>
                  <a:off x="3019584" y="2612074"/>
                  <a:ext cx="307392" cy="2616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1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𝜃</m:t>
                        </m:r>
                      </m:oMath>
                    </m:oMathPara>
                  </a14:m>
                  <a:endParaRPr lang="en-US" sz="1100" dirty="0"/>
                </a:p>
              </p:txBody>
            </p:sp>
          </mc:Choice>
          <mc:Fallback xmlns="">
            <p:sp>
              <p:nvSpPr>
                <p:cNvPr id="49" name="TextBox 95">
                  <a:extLst>
                    <a:ext uri="{FF2B5EF4-FFF2-40B4-BE49-F238E27FC236}">
                      <a16:creationId xmlns:a16="http://schemas.microsoft.com/office/drawing/2014/main" id="{16ABD0A0-B566-46CD-AED9-23681106746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019584" y="2612074"/>
                  <a:ext cx="307392" cy="261610"/>
                </a:xfrm>
                <a:prstGeom prst="rect">
                  <a:avLst/>
                </a:prstGeom>
                <a:blipFill>
                  <a:blip r:embed="rId6"/>
                  <a:stretch>
                    <a:fillRect r="-19355" b="-2703"/>
                  </a:stretch>
                </a:blipFill>
              </p:spPr>
              <p:txBody>
                <a:bodyPr/>
                <a:lstStyle/>
                <a:p>
                  <a:r>
                    <a:rPr lang="es-MX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0" name="TextBox 96">
                  <a:extLst>
                    <a:ext uri="{FF2B5EF4-FFF2-40B4-BE49-F238E27FC236}">
                      <a16:creationId xmlns:a16="http://schemas.microsoft.com/office/drawing/2014/main" id="{50BF7F7E-C4B4-4F52-B6E4-355450C1B587}"/>
                    </a:ext>
                  </a:extLst>
                </p:cNvPr>
                <p:cNvSpPr txBox="1"/>
                <p:nvPr/>
              </p:nvSpPr>
              <p:spPr>
                <a:xfrm>
                  <a:off x="5562374" y="3037453"/>
                  <a:ext cx="363561" cy="2616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lang="en-US" sz="1100" dirty="0"/>
                </a:p>
              </p:txBody>
            </p:sp>
          </mc:Choice>
          <mc:Fallback xmlns="">
            <p:sp>
              <p:nvSpPr>
                <p:cNvPr id="50" name="TextBox 96">
                  <a:extLst>
                    <a:ext uri="{FF2B5EF4-FFF2-40B4-BE49-F238E27FC236}">
                      <a16:creationId xmlns:a16="http://schemas.microsoft.com/office/drawing/2014/main" id="{50BF7F7E-C4B4-4F52-B6E4-355450C1B58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562374" y="3037453"/>
                  <a:ext cx="363561" cy="261610"/>
                </a:xfrm>
                <a:prstGeom prst="rect">
                  <a:avLst/>
                </a:prstGeom>
                <a:blipFill>
                  <a:blip r:embed="rId7"/>
                  <a:stretch>
                    <a:fillRect r="-16216" b="-11111"/>
                  </a:stretch>
                </a:blipFill>
              </p:spPr>
              <p:txBody>
                <a:bodyPr/>
                <a:lstStyle/>
                <a:p>
                  <a:r>
                    <a:rPr lang="es-MX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1" name="TextBox 97">
                  <a:extLst>
                    <a:ext uri="{FF2B5EF4-FFF2-40B4-BE49-F238E27FC236}">
                      <a16:creationId xmlns:a16="http://schemas.microsoft.com/office/drawing/2014/main" id="{F1856C0A-B8F8-41A2-A8BF-ABEB7F897E69}"/>
                    </a:ext>
                  </a:extLst>
                </p:cNvPr>
                <p:cNvSpPr txBox="1"/>
                <p:nvPr/>
              </p:nvSpPr>
              <p:spPr>
                <a:xfrm>
                  <a:off x="4410536" y="3035438"/>
                  <a:ext cx="355867" cy="2616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𝑏</m:t>
                            </m:r>
                          </m:e>
                          <m:sub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lang="en-US" sz="1100" dirty="0"/>
                </a:p>
              </p:txBody>
            </p:sp>
          </mc:Choice>
          <mc:Fallback xmlns="">
            <p:sp>
              <p:nvSpPr>
                <p:cNvPr id="51" name="TextBox 97">
                  <a:extLst>
                    <a:ext uri="{FF2B5EF4-FFF2-40B4-BE49-F238E27FC236}">
                      <a16:creationId xmlns:a16="http://schemas.microsoft.com/office/drawing/2014/main" id="{F1856C0A-B8F8-41A2-A8BF-ABEB7F897E6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410536" y="3035438"/>
                  <a:ext cx="355867" cy="261610"/>
                </a:xfrm>
                <a:prstGeom prst="rect">
                  <a:avLst/>
                </a:prstGeom>
                <a:blipFill>
                  <a:blip r:embed="rId8"/>
                  <a:stretch>
                    <a:fillRect r="-13889" b="-10811"/>
                  </a:stretch>
                </a:blipFill>
              </p:spPr>
              <p:txBody>
                <a:bodyPr/>
                <a:lstStyle/>
                <a:p>
                  <a:r>
                    <a:rPr lang="es-MX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2" name="TextBox 98">
                  <a:extLst>
                    <a:ext uri="{FF2B5EF4-FFF2-40B4-BE49-F238E27FC236}">
                      <a16:creationId xmlns:a16="http://schemas.microsoft.com/office/drawing/2014/main" id="{81A4C57D-1B22-43FE-99DC-82501FDDD766}"/>
                    </a:ext>
                  </a:extLst>
                </p:cNvPr>
                <p:cNvSpPr txBox="1"/>
                <p:nvPr/>
              </p:nvSpPr>
              <p:spPr>
                <a:xfrm>
                  <a:off x="4115671" y="3427308"/>
                  <a:ext cx="345671" cy="2616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𝑐</m:t>
                            </m:r>
                          </m:e>
                          <m:sub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lang="en-US" sz="1100" dirty="0"/>
                </a:p>
              </p:txBody>
            </p:sp>
          </mc:Choice>
          <mc:Fallback xmlns="">
            <p:sp>
              <p:nvSpPr>
                <p:cNvPr id="52" name="TextBox 98">
                  <a:extLst>
                    <a:ext uri="{FF2B5EF4-FFF2-40B4-BE49-F238E27FC236}">
                      <a16:creationId xmlns:a16="http://schemas.microsoft.com/office/drawing/2014/main" id="{81A4C57D-1B22-43FE-99DC-82501FDDD76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115671" y="3427308"/>
                  <a:ext cx="345671" cy="261610"/>
                </a:xfrm>
                <a:prstGeom prst="rect">
                  <a:avLst/>
                </a:prstGeom>
                <a:blipFill>
                  <a:blip r:embed="rId9"/>
                  <a:stretch>
                    <a:fillRect r="-14286" b="-10811"/>
                  </a:stretch>
                </a:blipFill>
              </p:spPr>
              <p:txBody>
                <a:bodyPr/>
                <a:lstStyle/>
                <a:p>
                  <a:r>
                    <a:rPr lang="es-MX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3" name="TextBox 99">
                  <a:extLst>
                    <a:ext uri="{FF2B5EF4-FFF2-40B4-BE49-F238E27FC236}">
                      <a16:creationId xmlns:a16="http://schemas.microsoft.com/office/drawing/2014/main" id="{C4022B0A-40E1-4F2D-A17D-2A3A37CC2481}"/>
                    </a:ext>
                  </a:extLst>
                </p:cNvPr>
                <p:cNvSpPr txBox="1"/>
                <p:nvPr/>
              </p:nvSpPr>
              <p:spPr>
                <a:xfrm>
                  <a:off x="3489347" y="3035438"/>
                  <a:ext cx="355867" cy="2616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𝑒</m:t>
                            </m:r>
                          </m:e>
                          <m:sub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lang="en-US" sz="1100" dirty="0"/>
                </a:p>
              </p:txBody>
            </p:sp>
          </mc:Choice>
          <mc:Fallback xmlns="">
            <p:sp>
              <p:nvSpPr>
                <p:cNvPr id="53" name="TextBox 99">
                  <a:extLst>
                    <a:ext uri="{FF2B5EF4-FFF2-40B4-BE49-F238E27FC236}">
                      <a16:creationId xmlns:a16="http://schemas.microsoft.com/office/drawing/2014/main" id="{C4022B0A-40E1-4F2D-A17D-2A3A37CC2481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489347" y="3035438"/>
                  <a:ext cx="355867" cy="261610"/>
                </a:xfrm>
                <a:prstGeom prst="rect">
                  <a:avLst/>
                </a:prstGeom>
                <a:blipFill>
                  <a:blip r:embed="rId10"/>
                  <a:stretch>
                    <a:fillRect r="-11111" b="-10811"/>
                  </a:stretch>
                </a:blipFill>
              </p:spPr>
              <p:txBody>
                <a:bodyPr/>
                <a:lstStyle/>
                <a:p>
                  <a:r>
                    <a:rPr lang="es-MX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4" name="TextBox 100">
                  <a:extLst>
                    <a:ext uri="{FF2B5EF4-FFF2-40B4-BE49-F238E27FC236}">
                      <a16:creationId xmlns:a16="http://schemas.microsoft.com/office/drawing/2014/main" id="{CC4736FE-6441-46C6-B1F2-21F14810F8EE}"/>
                    </a:ext>
                  </a:extLst>
                </p:cNvPr>
                <p:cNvSpPr txBox="1"/>
                <p:nvPr/>
              </p:nvSpPr>
              <p:spPr>
                <a:xfrm>
                  <a:off x="4968568" y="2065352"/>
                  <a:ext cx="329899" cy="2616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𝑙</m:t>
                            </m:r>
                          </m:e>
                          <m:sub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lang="en-US" sz="1100" dirty="0"/>
                </a:p>
              </p:txBody>
            </p:sp>
          </mc:Choice>
          <mc:Fallback xmlns="">
            <p:sp>
              <p:nvSpPr>
                <p:cNvPr id="54" name="TextBox 100">
                  <a:extLst>
                    <a:ext uri="{FF2B5EF4-FFF2-40B4-BE49-F238E27FC236}">
                      <a16:creationId xmlns:a16="http://schemas.microsoft.com/office/drawing/2014/main" id="{CC4736FE-6441-46C6-B1F2-21F14810F8EE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968568" y="2065352"/>
                  <a:ext cx="329899" cy="261610"/>
                </a:xfrm>
                <a:prstGeom prst="rect">
                  <a:avLst/>
                </a:prstGeom>
                <a:blipFill>
                  <a:blip r:embed="rId11"/>
                  <a:stretch>
                    <a:fillRect r="-8824" b="-10811"/>
                  </a:stretch>
                </a:blipFill>
              </p:spPr>
              <p:txBody>
                <a:bodyPr/>
                <a:lstStyle/>
                <a:p>
                  <a:r>
                    <a:rPr lang="es-MX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5" name="TextBox 101">
                  <a:extLst>
                    <a:ext uri="{FF2B5EF4-FFF2-40B4-BE49-F238E27FC236}">
                      <a16:creationId xmlns:a16="http://schemas.microsoft.com/office/drawing/2014/main" id="{F358792E-5426-4B19-8587-C62222F977B0}"/>
                    </a:ext>
                  </a:extLst>
                </p:cNvPr>
                <p:cNvSpPr txBox="1"/>
                <p:nvPr/>
              </p:nvSpPr>
              <p:spPr>
                <a:xfrm>
                  <a:off x="4542634" y="2404293"/>
                  <a:ext cx="620298" cy="2616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𝑚</m:t>
                            </m:r>
                          </m:e>
                          <m:sub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es-MX" sz="1100" b="0" i="1" smtClean="0">
                            <a:latin typeface="Cambria Math" panose="02040503050406030204" pitchFamily="18" charset="0"/>
                          </a:rPr>
                          <m:t>, </m:t>
                        </m:r>
                        <m:sSub>
                          <m:sSubPr>
                            <m:ctrlP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𝐼</m:t>
                            </m:r>
                          </m:e>
                          <m:sub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𝑧</m:t>
                            </m:r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lang="en-US" sz="1100" dirty="0"/>
                </a:p>
              </p:txBody>
            </p:sp>
          </mc:Choice>
          <mc:Fallback xmlns="">
            <p:sp>
              <p:nvSpPr>
                <p:cNvPr id="55" name="TextBox 101">
                  <a:extLst>
                    <a:ext uri="{FF2B5EF4-FFF2-40B4-BE49-F238E27FC236}">
                      <a16:creationId xmlns:a16="http://schemas.microsoft.com/office/drawing/2014/main" id="{F358792E-5426-4B19-8587-C62222F977B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542634" y="2404293"/>
                  <a:ext cx="620298" cy="261610"/>
                </a:xfrm>
                <a:prstGeom prst="rect">
                  <a:avLst/>
                </a:prstGeom>
                <a:blipFill>
                  <a:blip r:embed="rId12"/>
                  <a:stretch>
                    <a:fillRect r="-34375" b="-11111"/>
                  </a:stretch>
                </a:blipFill>
              </p:spPr>
              <p:txBody>
                <a:bodyPr/>
                <a:lstStyle/>
                <a:p>
                  <a:r>
                    <a:rPr lang="es-MX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6" name="TextBox 102">
                  <a:extLst>
                    <a:ext uri="{FF2B5EF4-FFF2-40B4-BE49-F238E27FC236}">
                      <a16:creationId xmlns:a16="http://schemas.microsoft.com/office/drawing/2014/main" id="{2E2A7A39-4ABB-4BC3-BA34-98D2B33AC798}"/>
                    </a:ext>
                  </a:extLst>
                </p:cNvPr>
                <p:cNvSpPr txBox="1"/>
                <p:nvPr/>
              </p:nvSpPr>
              <p:spPr>
                <a:xfrm>
                  <a:off x="2681098" y="2226791"/>
                  <a:ext cx="366832" cy="2616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lang="en-US" sz="1100" dirty="0"/>
                </a:p>
              </p:txBody>
            </p:sp>
          </mc:Choice>
          <mc:Fallback xmlns="">
            <p:sp>
              <p:nvSpPr>
                <p:cNvPr id="56" name="TextBox 102">
                  <a:extLst>
                    <a:ext uri="{FF2B5EF4-FFF2-40B4-BE49-F238E27FC236}">
                      <a16:creationId xmlns:a16="http://schemas.microsoft.com/office/drawing/2014/main" id="{2E2A7A39-4ABB-4BC3-BA34-98D2B33AC798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681098" y="2226791"/>
                  <a:ext cx="366832" cy="261610"/>
                </a:xfrm>
                <a:prstGeom prst="rect">
                  <a:avLst/>
                </a:prstGeom>
                <a:blipFill>
                  <a:blip r:embed="rId13"/>
                  <a:stretch>
                    <a:fillRect r="-15789" b="-8108"/>
                  </a:stretch>
                </a:blipFill>
              </p:spPr>
              <p:txBody>
                <a:bodyPr/>
                <a:lstStyle/>
                <a:p>
                  <a:r>
                    <a:rPr lang="es-MX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7" name="TextBox 103">
                  <a:extLst>
                    <a:ext uri="{FF2B5EF4-FFF2-40B4-BE49-F238E27FC236}">
                      <a16:creationId xmlns:a16="http://schemas.microsoft.com/office/drawing/2014/main" id="{857FDBEB-B690-4ED6-806F-56C3FF25B8D7}"/>
                    </a:ext>
                  </a:extLst>
                </p:cNvPr>
                <p:cNvSpPr txBox="1"/>
                <p:nvPr/>
              </p:nvSpPr>
              <p:spPr>
                <a:xfrm>
                  <a:off x="2111721" y="2598711"/>
                  <a:ext cx="359136" cy="2616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𝑏</m:t>
                            </m:r>
                          </m:e>
                          <m:sub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lang="en-US" sz="1100" dirty="0"/>
                </a:p>
              </p:txBody>
            </p:sp>
          </mc:Choice>
          <mc:Fallback xmlns="">
            <p:sp>
              <p:nvSpPr>
                <p:cNvPr id="57" name="TextBox 103">
                  <a:extLst>
                    <a:ext uri="{FF2B5EF4-FFF2-40B4-BE49-F238E27FC236}">
                      <a16:creationId xmlns:a16="http://schemas.microsoft.com/office/drawing/2014/main" id="{857FDBEB-B690-4ED6-806F-56C3FF25B8D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111721" y="2598711"/>
                  <a:ext cx="359136" cy="261610"/>
                </a:xfrm>
                <a:prstGeom prst="rect">
                  <a:avLst/>
                </a:prstGeom>
                <a:blipFill>
                  <a:blip r:embed="rId14"/>
                  <a:stretch>
                    <a:fillRect r="-13514" b="-8108"/>
                  </a:stretch>
                </a:blipFill>
              </p:spPr>
              <p:txBody>
                <a:bodyPr/>
                <a:lstStyle/>
                <a:p>
                  <a:r>
                    <a:rPr lang="es-MX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8" name="TextBox 104">
                  <a:extLst>
                    <a:ext uri="{FF2B5EF4-FFF2-40B4-BE49-F238E27FC236}">
                      <a16:creationId xmlns:a16="http://schemas.microsoft.com/office/drawing/2014/main" id="{E29F3764-E28D-426B-8FE5-8C80C3A50A99}"/>
                    </a:ext>
                  </a:extLst>
                </p:cNvPr>
                <p:cNvSpPr txBox="1"/>
                <p:nvPr/>
              </p:nvSpPr>
              <p:spPr>
                <a:xfrm>
                  <a:off x="2267769" y="2190723"/>
                  <a:ext cx="333168" cy="2616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𝑙</m:t>
                            </m:r>
                          </m:e>
                          <m:sub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lang="en-US" sz="1100" dirty="0"/>
                </a:p>
              </p:txBody>
            </p:sp>
          </mc:Choice>
          <mc:Fallback xmlns="">
            <p:sp>
              <p:nvSpPr>
                <p:cNvPr id="58" name="TextBox 104">
                  <a:extLst>
                    <a:ext uri="{FF2B5EF4-FFF2-40B4-BE49-F238E27FC236}">
                      <a16:creationId xmlns:a16="http://schemas.microsoft.com/office/drawing/2014/main" id="{E29F3764-E28D-426B-8FE5-8C80C3A50A9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267769" y="2190723"/>
                  <a:ext cx="333168" cy="261610"/>
                </a:xfrm>
                <a:prstGeom prst="rect">
                  <a:avLst/>
                </a:prstGeom>
                <a:blipFill>
                  <a:blip r:embed="rId15"/>
                  <a:stretch>
                    <a:fillRect r="-11765" b="-11111"/>
                  </a:stretch>
                </a:blipFill>
              </p:spPr>
              <p:txBody>
                <a:bodyPr/>
                <a:lstStyle/>
                <a:p>
                  <a:r>
                    <a:rPr lang="es-MX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9" name="TextBox 105">
                  <a:extLst>
                    <a:ext uri="{FF2B5EF4-FFF2-40B4-BE49-F238E27FC236}">
                      <a16:creationId xmlns:a16="http://schemas.microsoft.com/office/drawing/2014/main" id="{8A4112F1-7935-4FA6-A077-0D6581D61302}"/>
                    </a:ext>
                  </a:extLst>
                </p:cNvPr>
                <p:cNvSpPr txBox="1"/>
                <p:nvPr/>
              </p:nvSpPr>
              <p:spPr>
                <a:xfrm>
                  <a:off x="2608331" y="3031280"/>
                  <a:ext cx="623568" cy="2616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𝑚</m:t>
                            </m:r>
                          </m:e>
                          <m:sub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es-MX" sz="1100" b="0" i="1" smtClean="0">
                            <a:latin typeface="Cambria Math" panose="02040503050406030204" pitchFamily="18" charset="0"/>
                          </a:rPr>
                          <m:t>, </m:t>
                        </m:r>
                        <m:sSub>
                          <m:sSubPr>
                            <m:ctrlP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𝐼</m:t>
                            </m:r>
                          </m:e>
                          <m:sub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𝑧</m:t>
                            </m:r>
                            <m:r>
                              <a:rPr lang="es-MX" sz="1100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lang="en-US" sz="1100" dirty="0"/>
                </a:p>
              </p:txBody>
            </p:sp>
          </mc:Choice>
          <mc:Fallback xmlns="">
            <p:sp>
              <p:nvSpPr>
                <p:cNvPr id="59" name="TextBox 105">
                  <a:extLst>
                    <a:ext uri="{FF2B5EF4-FFF2-40B4-BE49-F238E27FC236}">
                      <a16:creationId xmlns:a16="http://schemas.microsoft.com/office/drawing/2014/main" id="{8A4112F1-7935-4FA6-A077-0D6581D6130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608331" y="3031280"/>
                  <a:ext cx="623568" cy="261610"/>
                </a:xfrm>
                <a:prstGeom prst="rect">
                  <a:avLst/>
                </a:prstGeom>
                <a:blipFill>
                  <a:blip r:embed="rId16"/>
                  <a:stretch>
                    <a:fillRect r="-34375" b="-11111"/>
                  </a:stretch>
                </a:blipFill>
              </p:spPr>
              <p:txBody>
                <a:bodyPr/>
                <a:lstStyle/>
                <a:p>
                  <a:r>
                    <a:rPr lang="es-MX">
                      <a:noFill/>
                    </a:rPr>
                    <a:t> </a:t>
                  </a:r>
                </a:p>
              </p:txBody>
            </p:sp>
          </mc:Fallback>
        </mc:AlternateContent>
      </p:grpSp>
    </p:spTree>
    <p:extLst>
      <p:ext uri="{BB962C8B-B14F-4D97-AF65-F5344CB8AC3E}">
        <p14:creationId xmlns:p14="http://schemas.microsoft.com/office/powerpoint/2010/main" val="3959058803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7B5485E-CB22-449A-BB4E-D5E5D0CBCC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17 June 2020</a:t>
            </a:fld>
            <a:endParaRPr lang="en-US" noProof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2A670EAD-8CFE-49D9-B5CE-1CC989B4AD0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70750D82-9E55-4914-888B-69025614927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sp>
        <p:nvSpPr>
          <p:cNvPr id="8" name="Título 2">
            <a:extLst>
              <a:ext uri="{FF2B5EF4-FFF2-40B4-BE49-F238E27FC236}">
                <a16:creationId xmlns:a16="http://schemas.microsoft.com/office/drawing/2014/main" id="{528D9115-803E-42C5-8466-64696FA273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03213"/>
            <a:ext cx="2952575" cy="396329"/>
          </a:xfrm>
        </p:spPr>
        <p:txBody>
          <a:bodyPr/>
          <a:lstStyle/>
          <a:p>
            <a:r>
              <a:rPr lang="es-MX" b="0" dirty="0"/>
              <a:t>Dynamic </a:t>
            </a:r>
            <a:r>
              <a:rPr lang="es-MX" b="0" dirty="0" err="1"/>
              <a:t>equations</a:t>
            </a:r>
            <a:br>
              <a:rPr lang="es-MX" dirty="0"/>
            </a:br>
            <a:endParaRPr lang="es-MX" dirty="0"/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44857972-4401-4B69-93FC-D6EA7250661F}"/>
              </a:ext>
            </a:extLst>
          </p:cNvPr>
          <p:cNvSpPr/>
          <p:nvPr/>
        </p:nvSpPr>
        <p:spPr>
          <a:xfrm>
            <a:off x="395289" y="713194"/>
            <a:ext cx="351891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MX" dirty="0" err="1"/>
              <a:t>The</a:t>
            </a:r>
            <a:r>
              <a:rPr lang="es-MX" dirty="0"/>
              <a:t> </a:t>
            </a:r>
            <a:r>
              <a:rPr lang="es-MX" dirty="0" err="1"/>
              <a:t>following</a:t>
            </a:r>
            <a:r>
              <a:rPr lang="es-MX" dirty="0"/>
              <a:t> are </a:t>
            </a:r>
            <a:r>
              <a:rPr lang="es-MX" dirty="0" err="1"/>
              <a:t>valid</a:t>
            </a:r>
            <a:r>
              <a:rPr lang="es-MX" dirty="0"/>
              <a:t> </a:t>
            </a:r>
            <a:r>
              <a:rPr lang="es-MX" dirty="0" err="1"/>
              <a:t>equalities</a:t>
            </a:r>
            <a:endParaRPr lang="es-MX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2" name="Rectángulo 71">
                <a:extLst>
                  <a:ext uri="{FF2B5EF4-FFF2-40B4-BE49-F238E27FC236}">
                    <a16:creationId xmlns:a16="http://schemas.microsoft.com/office/drawing/2014/main" id="{658B585C-81DB-40F1-899D-B18D5528DB4D}"/>
                  </a:ext>
                </a:extLst>
              </p:cNvPr>
              <p:cNvSpPr/>
              <p:nvPr/>
            </p:nvSpPr>
            <p:spPr>
              <a:xfrm>
                <a:off x="1187624" y="1601238"/>
                <a:ext cx="6120680" cy="156190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l-GR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𝜔</m:t>
                          </m:r>
                        </m:e>
                        <m:sub>
                          <m:r>
                            <a:rPr lang="es-MX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s-MX" i="1">
                          <a:latin typeface="Cambria Math" panose="02040503050406030204" pitchFamily="18" charset="0"/>
                        </a:rPr>
                        <m:t> =</m:t>
                      </m:r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l-GR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𝜔</m:t>
                          </m:r>
                        </m:e>
                        <m:sub>
                          <m:r>
                            <a:rPr lang="es-MX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s-MX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acc>
                        <m:accPr>
                          <m:chr m:val="̇"/>
                          <m:ctrlPr>
                            <a:rPr lang="es-MX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s-MX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</m:acc>
                    </m:oMath>
                  </m:oMathPara>
                </a14:m>
                <a:endParaRPr lang="es-MX" dirty="0"/>
              </a:p>
              <a:p>
                <a:endParaRPr lang="es-MX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s-MX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𝑣</m:t>
                          </m:r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e>
                        <m:sub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s-MX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𝑥</m:t>
                          </m:r>
                        </m:sub>
                      </m:sSub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l-GR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𝜔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s-MX" b="0" dirty="0">
                  <a:ea typeface="Cambria Math" panose="02040503050406030204" pitchFamily="18" charset="0"/>
                </a:endParaRPr>
              </a:p>
              <a:p>
                <a:endParaRPr lang="es-MX" b="0" dirty="0"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𝑦</m:t>
                          </m:r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s-MX" i="1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𝑣</m:t>
                          </m:r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′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𝑦</m:t>
                          </m:r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s-MX" i="1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𝑥</m:t>
                          </m:r>
                        </m:sub>
                      </m:sSub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l-GR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𝜔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s-MX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l-GR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𝜔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s-MX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s-MX" b="0" i="1" smtClean="0">
                          <a:latin typeface="Cambria Math" panose="02040503050406030204" pitchFamily="18" charset="0"/>
                        </a:rPr>
                        <m:t>(</m:t>
                      </m:r>
                      <m:sSub>
                        <m:sSubPr>
                          <m:ctrlPr>
                            <a:rPr lang="es-MX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s-MX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s-MX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𝜔</m:t>
                              </m:r>
                            </m:e>
                          </m:acc>
                        </m:e>
                        <m:sub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s-MX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acc>
                        <m:accPr>
                          <m:chr m:val="̈"/>
                          <m:ctrlPr>
                            <a:rPr lang="es-MX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s-MX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</m:acc>
                      <m:r>
                        <a:rPr lang="es-MX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s-MX" b="0" dirty="0"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72" name="Rectángulo 71">
                <a:extLst>
                  <a:ext uri="{FF2B5EF4-FFF2-40B4-BE49-F238E27FC236}">
                    <a16:creationId xmlns:a16="http://schemas.microsoft.com/office/drawing/2014/main" id="{658B585C-81DB-40F1-899D-B18D5528DB4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87624" y="1601238"/>
                <a:ext cx="6120680" cy="1561902"/>
              </a:xfrm>
              <a:prstGeom prst="rect">
                <a:avLst/>
              </a:prstGeom>
              <a:blipFill>
                <a:blip r:embed="rId3"/>
                <a:stretch>
                  <a:fillRect b="-391"/>
                </a:stretch>
              </a:blipFill>
            </p:spPr>
            <p:txBody>
              <a:bodyPr/>
              <a:lstStyle/>
              <a:p>
                <a:r>
                  <a:rPr lang="es-MX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460186783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B0A76DA-506E-4534-8E31-0869523832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17 June 2020</a:t>
            </a:fld>
            <a:endParaRPr lang="en-US" noProof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274452EC-3092-47C1-A932-3B14A3053AA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8</a:t>
            </a:fld>
            <a:endParaRPr lang="en-US" noProof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D8124334-3B1B-4830-8C14-DC2D7B5E035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Rectángulo 6">
                <a:extLst>
                  <a:ext uri="{FF2B5EF4-FFF2-40B4-BE49-F238E27FC236}">
                    <a16:creationId xmlns:a16="http://schemas.microsoft.com/office/drawing/2014/main" id="{1175182B-D861-4588-8C86-6242EA17E58C}"/>
                  </a:ext>
                </a:extLst>
              </p:cNvPr>
              <p:cNvSpPr/>
              <p:nvPr/>
            </p:nvSpPr>
            <p:spPr>
              <a:xfrm>
                <a:off x="414364" y="899164"/>
                <a:ext cx="7776863" cy="242951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𝐹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𝑦𝑓</m:t>
                          </m:r>
                        </m:sub>
                      </m:sSub>
                      <m:r>
                        <a:rPr lang="es-MX" b="0" i="1" smtClean="0">
                          <a:latin typeface="Cambria Math" panose="02040503050406030204" pitchFamily="18" charset="0"/>
                        </a:rPr>
                        <m:t>=−</m:t>
                      </m:r>
                      <m:sSub>
                        <m:sSubPr>
                          <m:ctrlPr>
                            <a:rPr lang="es-MX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</m:e>
                        <m:sub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𝑦𝑓</m:t>
                          </m:r>
                        </m:sub>
                      </m:sSub>
                      <m:sSub>
                        <m:sSubPr>
                          <m:ctrlPr>
                            <a:rPr lang="es-MX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</m:sSub>
                      <m:r>
                        <a:rPr lang="es-MX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𝐶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𝑦𝑓</m:t>
                          </m:r>
                        </m:sub>
                      </m:sSub>
                      <m:r>
                        <a:rPr lang="es-MX" b="0" i="1" smtClean="0">
                          <a:latin typeface="Cambria Math" panose="02040503050406030204" pitchFamily="18" charset="0"/>
                        </a:rPr>
                        <m:t>(</m:t>
                      </m:r>
                      <m:f>
                        <m:fPr>
                          <m:ctrlPr>
                            <a:rPr lang="es-MX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s-MX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s-MX" b="0" i="1" smtClean="0"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s-MX" b="0" i="1" smtClean="0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  <m:r>
                                <a:rPr lang="es-MX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sSub>
                            <m:sSubPr>
                              <m:ctrlPr>
                                <a:rPr lang="es-MX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s-MX" b="0" i="1" smtClean="0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s-MX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sSub>
                            <m:sSubPr>
                              <m:ctrlPr>
                                <a:rPr lang="es-MX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l-GR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𝜔</m:t>
                              </m:r>
                            </m:e>
                            <m:sub>
                              <m:r>
                                <a:rPr lang="es-MX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s-MX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s-MX" b="0" i="1" smtClean="0"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s-MX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𝑥</m:t>
                              </m:r>
                            </m:sub>
                          </m:sSub>
                        </m:den>
                      </m:f>
                      <m:r>
                        <a:rPr lang="es-MX" b="0" i="1" smtClean="0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s-MX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𝛿</m:t>
                      </m:r>
                      <m:r>
                        <a:rPr lang="es-MX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s-MX" dirty="0"/>
              </a:p>
              <a:p>
                <a:endParaRPr lang="es-MX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𝐹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𝑦</m:t>
                          </m:r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sub>
                      </m:sSub>
                      <m:r>
                        <a:rPr lang="es-MX" i="1">
                          <a:latin typeface="Cambria Math" panose="02040503050406030204" pitchFamily="18" charset="0"/>
                        </a:rPr>
                        <m:t>=−</m:t>
                      </m:r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𝐶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𝑦</m:t>
                          </m:r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sub>
                      </m:sSub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es-MX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𝑟</m:t>
                          </m:r>
                        </m:sub>
                      </m:sSub>
                      <m:r>
                        <a:rPr lang="es-MX" i="1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𝐶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𝑦</m:t>
                          </m:r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sub>
                      </m:sSub>
                      <m:r>
                        <a:rPr lang="es-MX" i="1">
                          <a:latin typeface="Cambria Math" panose="02040503050406030204" pitchFamily="18" charset="0"/>
                        </a:rPr>
                        <m:t>(</m:t>
                      </m:r>
                      <m:f>
                        <m:f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s-MX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s-MX" i="1"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s-MX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  <m:r>
                                <a:rPr lang="es-MX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+</m:t>
                          </m:r>
                          <m:sSub>
                            <m:sSubPr>
                              <m:ctrlPr>
                                <a:rPr lang="es-MX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s-MX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es-MX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sSub>
                            <m:sSubPr>
                              <m:ctrlPr>
                                <a:rPr lang="es-MX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l-GR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𝜔</m:t>
                              </m:r>
                            </m:e>
                            <m:sub>
                              <m:r>
                                <a:rPr lang="es-MX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s-MX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s-MX" i="1"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s-MX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𝑥</m:t>
                              </m:r>
                            </m:sub>
                          </m:sSub>
                        </m:den>
                      </m:f>
                      <m:r>
                        <a:rPr lang="es-MX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s-MX" dirty="0"/>
              </a:p>
              <a:p>
                <a:endParaRPr lang="es-MX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𝐹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𝑦</m:t>
                          </m:r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s-MX" i="1">
                          <a:latin typeface="Cambria Math" panose="02040503050406030204" pitchFamily="18" charset="0"/>
                        </a:rPr>
                        <m:t>=−</m:t>
                      </m:r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𝐶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𝑦</m:t>
                          </m:r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es-MX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s-MX" i="1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𝐶</m:t>
                          </m:r>
                        </m:e>
                        <m:sub>
                          <m:r>
                            <a:rPr lang="es-MX" i="1">
                              <a:latin typeface="Cambria Math" panose="02040503050406030204" pitchFamily="18" charset="0"/>
                            </a:rPr>
                            <m:t>𝑦</m:t>
                          </m:r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s-MX" i="1">
                          <a:latin typeface="Cambria Math" panose="02040503050406030204" pitchFamily="18" charset="0"/>
                        </a:rPr>
                        <m:t>(</m:t>
                      </m:r>
                      <m:f>
                        <m:fPr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s-MX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s-MX" i="1"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s-MX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  <m:r>
                                <a:rPr lang="es-MX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es-MX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s-MX" b="0" i="1" smtClean="0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sSub>
                                <m:sSubPr>
                                  <m:ctrlPr>
                                    <a:rPr lang="es-MX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s-MX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</m:e>
                                <m:sub>
                                  <m:r>
                                    <a:rPr lang="es-MX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  <m:r>
                                <a:rPr lang="es-MX" b="0" i="1" smtClean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es-MX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e>
                            <m:sub>
                              <m:r>
                                <a:rPr lang="es-MX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  <m:sSub>
                            <m:sSubPr>
                              <m:ctrlPr>
                                <a:rPr lang="es-MX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l-GR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𝜔</m:t>
                              </m:r>
                            </m:e>
                            <m:sub>
                              <m:r>
                                <a:rPr lang="es-MX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es-MX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es-MX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s-MX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𝑙</m:t>
                              </m:r>
                            </m:e>
                            <m:sub>
                              <m:r>
                                <a:rPr lang="es-MX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  <m:acc>
                            <m:accPr>
                              <m:chr m:val="̇"/>
                              <m:ctrlPr>
                                <a:rPr lang="es-MX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s-MX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𝜃</m:t>
                              </m:r>
                            </m:e>
                          </m:acc>
                        </m:num>
                        <m:den>
                          <m:sSub>
                            <m:sSubPr>
                              <m:ctrlPr>
                                <a:rPr lang="es-MX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s-MX" i="1"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s-MX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𝑥</m:t>
                              </m:r>
                            </m:sub>
                          </m:sSub>
                        </m:den>
                      </m:f>
                      <m:r>
                        <a:rPr lang="es-MX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r>
                        <a:rPr lang="es-MX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𝜃</m:t>
                      </m:r>
                      <m:r>
                        <a:rPr lang="es-MX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s-MX" dirty="0"/>
              </a:p>
            </p:txBody>
          </p:sp>
        </mc:Choice>
        <mc:Fallback xmlns="">
          <p:sp>
            <p:nvSpPr>
              <p:cNvPr id="7" name="Rectángulo 6">
                <a:extLst>
                  <a:ext uri="{FF2B5EF4-FFF2-40B4-BE49-F238E27FC236}">
                    <a16:creationId xmlns:a16="http://schemas.microsoft.com/office/drawing/2014/main" id="{1175182B-D861-4588-8C86-6242EA17E58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4364" y="899164"/>
                <a:ext cx="7776863" cy="2429511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s-MX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ítulo 2">
            <a:extLst>
              <a:ext uri="{FF2B5EF4-FFF2-40B4-BE49-F238E27FC236}">
                <a16:creationId xmlns:a16="http://schemas.microsoft.com/office/drawing/2014/main" id="{47E938EA-7A09-46C7-B4BA-FDAEB82435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03213"/>
            <a:ext cx="2952575" cy="396329"/>
          </a:xfrm>
        </p:spPr>
        <p:txBody>
          <a:bodyPr/>
          <a:lstStyle/>
          <a:p>
            <a:r>
              <a:rPr lang="es-MX" b="0" dirty="0"/>
              <a:t>Dynamic </a:t>
            </a:r>
            <a:r>
              <a:rPr lang="es-MX" b="0" dirty="0" err="1"/>
              <a:t>equations</a:t>
            </a:r>
            <a:br>
              <a:rPr lang="es-MX" dirty="0"/>
            </a:br>
            <a:endParaRPr lang="es-MX" dirty="0"/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D60F9AC6-D26B-4713-B020-96282680D052}"/>
              </a:ext>
            </a:extLst>
          </p:cNvPr>
          <p:cNvSpPr/>
          <p:nvPr/>
        </p:nvSpPr>
        <p:spPr>
          <a:xfrm>
            <a:off x="338379" y="3644617"/>
            <a:ext cx="798167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MX" dirty="0" err="1"/>
              <a:t>The</a:t>
            </a:r>
            <a:r>
              <a:rPr lang="es-MX" dirty="0"/>
              <a:t> tire </a:t>
            </a:r>
            <a:r>
              <a:rPr lang="es-MX" dirty="0" err="1"/>
              <a:t>forces</a:t>
            </a:r>
            <a:r>
              <a:rPr lang="es-MX" dirty="0"/>
              <a:t> per </a:t>
            </a:r>
            <a:r>
              <a:rPr lang="es-MX" dirty="0" err="1"/>
              <a:t>axle</a:t>
            </a:r>
            <a:r>
              <a:rPr lang="es-MX" dirty="0"/>
              <a:t> are </a:t>
            </a:r>
            <a:r>
              <a:rPr lang="es-MX" dirty="0" err="1"/>
              <a:t>assumed</a:t>
            </a:r>
            <a:r>
              <a:rPr lang="es-MX" dirty="0"/>
              <a:t> </a:t>
            </a:r>
            <a:r>
              <a:rPr lang="es-MX" dirty="0" err="1"/>
              <a:t>to</a:t>
            </a:r>
            <a:r>
              <a:rPr lang="es-MX" dirty="0"/>
              <a:t> be </a:t>
            </a:r>
            <a:r>
              <a:rPr lang="es-MX" dirty="0" err="1"/>
              <a:t>proportional</a:t>
            </a:r>
            <a:r>
              <a:rPr lang="es-MX" dirty="0"/>
              <a:t> </a:t>
            </a:r>
            <a:r>
              <a:rPr lang="es-MX" dirty="0" err="1"/>
              <a:t>to</a:t>
            </a:r>
            <a:r>
              <a:rPr lang="es-MX" dirty="0"/>
              <a:t> </a:t>
            </a:r>
            <a:r>
              <a:rPr lang="es-MX" dirty="0" err="1"/>
              <a:t>the</a:t>
            </a:r>
            <a:r>
              <a:rPr lang="es-MX" dirty="0"/>
              <a:t> tire slip </a:t>
            </a:r>
            <a:r>
              <a:rPr lang="es-MX" dirty="0" err="1"/>
              <a:t>angles</a:t>
            </a:r>
            <a:endParaRPr lang="es-MX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ángulo 10">
                <a:extLst>
                  <a:ext uri="{FF2B5EF4-FFF2-40B4-BE49-F238E27FC236}">
                    <a16:creationId xmlns:a16="http://schemas.microsoft.com/office/drawing/2014/main" id="{C9ED74AD-F493-4470-8876-6864AB81ECA3}"/>
                  </a:ext>
                </a:extLst>
              </p:cNvPr>
              <p:cNvSpPr/>
              <p:nvPr/>
            </p:nvSpPr>
            <p:spPr>
              <a:xfrm>
                <a:off x="325084" y="3959137"/>
                <a:ext cx="6376874" cy="39158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s-MX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i="1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es-MX" i="1">
                            <a:latin typeface="Cambria Math" panose="02040503050406030204" pitchFamily="18" charset="0"/>
                          </a:rPr>
                          <m:t>𝑦𝑓</m:t>
                        </m:r>
                      </m:sub>
                    </m:sSub>
                  </m:oMath>
                </a14:m>
                <a:r>
                  <a:rPr lang="es-MX" dirty="0"/>
                  <a:t>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MX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i="1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𝑦𝑟</m:t>
                        </m:r>
                      </m:sub>
                    </m:sSub>
                  </m:oMath>
                </a14:m>
                <a:r>
                  <a:rPr lang="es-MX" dirty="0"/>
                  <a:t>,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MX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i="1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es-MX" i="1">
                            <a:latin typeface="Cambria Math" panose="02040503050406030204" pitchFamily="18" charset="0"/>
                          </a:rPr>
                          <m:t>𝑦</m:t>
                        </m:r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s-MX" dirty="0"/>
                  <a:t> are </a:t>
                </a:r>
                <a:r>
                  <a:rPr lang="es-MX" dirty="0" err="1"/>
                  <a:t>the</a:t>
                </a:r>
                <a:r>
                  <a:rPr lang="es-MX" dirty="0"/>
                  <a:t> </a:t>
                </a:r>
                <a:r>
                  <a:rPr lang="es-MX" dirty="0" err="1"/>
                  <a:t>cornering</a:t>
                </a:r>
                <a:r>
                  <a:rPr lang="es-MX" dirty="0"/>
                  <a:t> </a:t>
                </a:r>
                <a:r>
                  <a:rPr lang="es-MX" dirty="0" err="1"/>
                  <a:t>stiffnes</a:t>
                </a:r>
                <a:r>
                  <a:rPr lang="es-MX" dirty="0"/>
                  <a:t> </a:t>
                </a:r>
                <a:r>
                  <a:rPr lang="es-MX" dirty="0" err="1"/>
                  <a:t>values</a:t>
                </a:r>
                <a:r>
                  <a:rPr lang="es-MX" dirty="0"/>
                  <a:t> </a:t>
                </a:r>
                <a:r>
                  <a:rPr lang="es-MX" dirty="0" err="1"/>
                  <a:t>for</a:t>
                </a:r>
                <a:r>
                  <a:rPr lang="es-MX" dirty="0"/>
                  <a:t> </a:t>
                </a:r>
                <a:r>
                  <a:rPr lang="es-MX" dirty="0" err="1"/>
                  <a:t>the</a:t>
                </a:r>
                <a:r>
                  <a:rPr lang="es-MX" dirty="0"/>
                  <a:t> tires</a:t>
                </a:r>
              </a:p>
            </p:txBody>
          </p:sp>
        </mc:Choice>
        <mc:Fallback xmlns="">
          <p:sp>
            <p:nvSpPr>
              <p:cNvPr id="11" name="Rectángulo 10">
                <a:extLst>
                  <a:ext uri="{FF2B5EF4-FFF2-40B4-BE49-F238E27FC236}">
                    <a16:creationId xmlns:a16="http://schemas.microsoft.com/office/drawing/2014/main" id="{C9ED74AD-F493-4470-8876-6864AB81ECA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5084" y="3959137"/>
                <a:ext cx="6376874" cy="391582"/>
              </a:xfrm>
              <a:prstGeom prst="rect">
                <a:avLst/>
              </a:prstGeom>
              <a:blipFill>
                <a:blip r:embed="rId3"/>
                <a:stretch>
                  <a:fillRect t="-7692" b="-16923"/>
                </a:stretch>
              </a:blipFill>
            </p:spPr>
            <p:txBody>
              <a:bodyPr/>
              <a:lstStyle/>
              <a:p>
                <a:r>
                  <a:rPr lang="es-MX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920639186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F3E4279-FD2E-459D-BC0B-8D8549A3BB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17 June 2020</a:t>
            </a:fld>
            <a:endParaRPr lang="en-US" noProof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41DEF490-3E4F-47B5-BD5F-51AA605661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9</a:t>
            </a:fld>
            <a:endParaRPr lang="en-US" noProof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36BF9E23-621A-48FC-B0E2-76002C58C48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sp>
        <p:nvSpPr>
          <p:cNvPr id="7" name="Título 2">
            <a:extLst>
              <a:ext uri="{FF2B5EF4-FFF2-40B4-BE49-F238E27FC236}">
                <a16:creationId xmlns:a16="http://schemas.microsoft.com/office/drawing/2014/main" id="{FF26A34E-8A1C-4415-A593-2D0CB095A7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03213"/>
            <a:ext cx="2952575" cy="396329"/>
          </a:xfrm>
        </p:spPr>
        <p:txBody>
          <a:bodyPr/>
          <a:lstStyle/>
          <a:p>
            <a:r>
              <a:rPr lang="es-MX" b="0" dirty="0"/>
              <a:t>Dynamic </a:t>
            </a:r>
            <a:r>
              <a:rPr lang="es-MX" b="0" dirty="0" err="1"/>
              <a:t>equations</a:t>
            </a:r>
            <a:br>
              <a:rPr lang="es-MX" dirty="0"/>
            </a:br>
            <a:endParaRPr lang="es-MX" dirty="0"/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C082672F-B105-438F-B127-31E80EBF010F}"/>
              </a:ext>
            </a:extLst>
          </p:cNvPr>
          <p:cNvSpPr/>
          <p:nvPr/>
        </p:nvSpPr>
        <p:spPr>
          <a:xfrm>
            <a:off x="611560" y="802908"/>
            <a:ext cx="763284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Combining equations yields a system of linear equations</a:t>
            </a:r>
            <a:endParaRPr lang="es-MX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CuadroTexto 12">
                <a:extLst>
                  <a:ext uri="{FF2B5EF4-FFF2-40B4-BE49-F238E27FC236}">
                    <a16:creationId xmlns:a16="http://schemas.microsoft.com/office/drawing/2014/main" id="{EC8AFEF4-4867-4CA5-9760-53CE01CDE7CF}"/>
                  </a:ext>
                </a:extLst>
              </p:cNvPr>
              <p:cNvSpPr txBox="1"/>
              <p:nvPr/>
            </p:nvSpPr>
            <p:spPr>
              <a:xfrm>
                <a:off x="3363491" y="1281122"/>
                <a:ext cx="2545120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MX" b="1" i="0" smtClean="0">
                          <a:latin typeface="Cambria Math" panose="02040503050406030204" pitchFamily="18" charset="0"/>
                        </a:rPr>
                        <m:t>𝐌</m:t>
                      </m:r>
                      <m:acc>
                        <m:accPr>
                          <m:chr m:val="̇"/>
                          <m:ctrlPr>
                            <a:rPr lang="es-MX" b="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s-MX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acc>
                      <m:r>
                        <a:rPr lang="es-MX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s-MX" b="1" i="0" smtClean="0">
                          <a:latin typeface="Cambria Math" panose="02040503050406030204" pitchFamily="18" charset="0"/>
                        </a:rPr>
                        <m:t>𝐃</m:t>
                      </m:r>
                      <m:d>
                        <m:dPr>
                          <m:ctrlPr>
                            <a:rPr lang="es-MX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s-MX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s-MX" b="0" i="1" smtClean="0"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s-MX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sub>
                          </m:sSub>
                        </m:e>
                      </m:d>
                      <m:r>
                        <a:rPr lang="es-MX" b="1" i="0" smtClean="0">
                          <a:latin typeface="Cambria Math" panose="02040503050406030204" pitchFamily="18" charset="0"/>
                        </a:rPr>
                        <m:t>𝐱</m:t>
                      </m:r>
                      <m:r>
                        <a:rPr lang="es-MX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s-MX" b="1" i="0" smtClean="0">
                          <a:latin typeface="Cambria Math" panose="02040503050406030204" pitchFamily="18" charset="0"/>
                        </a:rPr>
                        <m:t>𝐄</m:t>
                      </m:r>
                      <m:r>
                        <a:rPr lang="es-MX" b="0" i="1" smtClean="0">
                          <a:latin typeface="Cambria Math" panose="02040503050406030204" pitchFamily="18" charset="0"/>
                        </a:rPr>
                        <m:t>𝑢</m:t>
                      </m:r>
                      <m:r>
                        <a:rPr lang="es-MX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s-MX" b="1" i="0" smtClean="0">
                          <a:latin typeface="Cambria Math" panose="02040503050406030204" pitchFamily="18" charset="0"/>
                        </a:rPr>
                        <m:t>𝐅</m:t>
                      </m:r>
                      <m:r>
                        <a:rPr lang="es-MX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𝛿</m:t>
                      </m:r>
                    </m:oMath>
                  </m:oMathPara>
                </a14:m>
                <a:endParaRPr lang="es-MX" dirty="0"/>
              </a:p>
            </p:txBody>
          </p:sp>
        </mc:Choice>
        <mc:Fallback xmlns="">
          <p:sp>
            <p:nvSpPr>
              <p:cNvPr id="13" name="CuadroTexto 12">
                <a:extLst>
                  <a:ext uri="{FF2B5EF4-FFF2-40B4-BE49-F238E27FC236}">
                    <a16:creationId xmlns:a16="http://schemas.microsoft.com/office/drawing/2014/main" id="{EC8AFEF4-4867-4CA5-9760-53CE01CDE7C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63491" y="1281122"/>
                <a:ext cx="2545120" cy="276999"/>
              </a:xfrm>
              <a:prstGeom prst="rect">
                <a:avLst/>
              </a:prstGeom>
              <a:blipFill>
                <a:blip r:embed="rId2"/>
                <a:stretch>
                  <a:fillRect l="-480" r="-480" b="-13043"/>
                </a:stretch>
              </a:blipFill>
            </p:spPr>
            <p:txBody>
              <a:bodyPr/>
              <a:lstStyle/>
              <a:p>
                <a:r>
                  <a:rPr lang="es-MX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4" name="Imagen 13">
            <a:extLst>
              <a:ext uri="{FF2B5EF4-FFF2-40B4-BE49-F238E27FC236}">
                <a16:creationId xmlns:a16="http://schemas.microsoft.com/office/drawing/2014/main" id="{9D1B1330-AB17-40CE-B0FA-158C7164F5C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988" t="28059" r="54725" b="44208"/>
          <a:stretch/>
        </p:blipFill>
        <p:spPr>
          <a:xfrm>
            <a:off x="467544" y="1779661"/>
            <a:ext cx="4181943" cy="1152129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31F85F6F-A910-4AED-A3BB-A63DC7DEF20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114" t="13171" r="56299" b="51393"/>
          <a:stretch/>
        </p:blipFill>
        <p:spPr>
          <a:xfrm>
            <a:off x="395289" y="3036666"/>
            <a:ext cx="4313581" cy="1270579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E9E04DB3-3AED-47CE-BCCC-817F35A4CEE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114" t="47758" r="83073" b="27904"/>
          <a:stretch/>
        </p:blipFill>
        <p:spPr>
          <a:xfrm>
            <a:off x="7020272" y="1751290"/>
            <a:ext cx="1440160" cy="951727"/>
          </a:xfrm>
          <a:prstGeom prst="rect">
            <a:avLst/>
          </a:prstGeom>
        </p:spPr>
      </p:pic>
      <p:pic>
        <p:nvPicPr>
          <p:cNvPr id="17" name="Imagen 16">
            <a:extLst>
              <a:ext uri="{FF2B5EF4-FFF2-40B4-BE49-F238E27FC236}">
                <a16:creationId xmlns:a16="http://schemas.microsoft.com/office/drawing/2014/main" id="{704AADB7-DE63-4156-889C-47BE0CDF586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7684" t="47758" r="75228" b="27904"/>
          <a:stretch/>
        </p:blipFill>
        <p:spPr>
          <a:xfrm>
            <a:off x="7128284" y="2715766"/>
            <a:ext cx="1224136" cy="1348279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9" name="CuadroTexto 18">
                <a:extLst>
                  <a:ext uri="{FF2B5EF4-FFF2-40B4-BE49-F238E27FC236}">
                    <a16:creationId xmlns:a16="http://schemas.microsoft.com/office/drawing/2014/main" id="{C8F00FA3-6F56-484E-955D-A140D9FC7BC8}"/>
                  </a:ext>
                </a:extLst>
              </p:cNvPr>
              <p:cNvSpPr txBox="1"/>
              <p:nvPr/>
            </p:nvSpPr>
            <p:spPr>
              <a:xfrm>
                <a:off x="5425288" y="1814573"/>
                <a:ext cx="1009764" cy="102047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MX" b="1" i="0" smtClean="0">
                          <a:latin typeface="Cambria Math" panose="02040503050406030204" pitchFamily="18" charset="0"/>
                        </a:rPr>
                        <m:t>𝐱</m:t>
                      </m:r>
                      <m:r>
                        <a:rPr lang="es-MX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["/>
                          <m:endChr m:val="]"/>
                          <m:ctrlPr>
                            <a:rPr lang="es-MX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s-MX" i="1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sSub>
                                <m:sSubPr>
                                  <m:ctrlPr>
                                    <a:rPr lang="es-MX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s-MX" b="0" i="1" smtClean="0">
                                      <a:latin typeface="Cambria Math" panose="02040503050406030204" pitchFamily="18" charset="0"/>
                                    </a:rPr>
                                    <m:t>𝑣</m:t>
                                  </m:r>
                                </m:e>
                                <m:sub>
                                  <m:r>
                                    <a:rPr lang="es-MX" b="0" i="1" smtClean="0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  <m:r>
                                    <a:rPr lang="es-MX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  <m:e>
                              <m:sSub>
                                <m:sSubPr>
                                  <m:ctrlPr>
                                    <a:rPr lang="es-MX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s-MX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𝜔</m:t>
                                  </m:r>
                                </m:e>
                                <m:sub>
                                  <m:r>
                                    <a:rPr lang="es-MX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  <m:e>
                              <m:acc>
                                <m:accPr>
                                  <m:chr m:val="̇"/>
                                  <m:ctrlPr>
                                    <a:rPr lang="es-MX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s-MX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𝜃</m:t>
                                  </m:r>
                                </m:e>
                              </m:acc>
                            </m:e>
                            <m:e>
                              <m:r>
                                <a:rPr lang="es-MX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𝜃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es-MX" dirty="0"/>
              </a:p>
            </p:txBody>
          </p:sp>
        </mc:Choice>
        <mc:Fallback xmlns="">
          <p:sp>
            <p:nvSpPr>
              <p:cNvPr id="19" name="CuadroTexto 18">
                <a:extLst>
                  <a:ext uri="{FF2B5EF4-FFF2-40B4-BE49-F238E27FC236}">
                    <a16:creationId xmlns:a16="http://schemas.microsoft.com/office/drawing/2014/main" id="{C8F00FA3-6F56-484E-955D-A140D9FC7BC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25288" y="1814573"/>
                <a:ext cx="1009764" cy="102047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s-MX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CuadroTexto 19">
                <a:extLst>
                  <a:ext uri="{FF2B5EF4-FFF2-40B4-BE49-F238E27FC236}">
                    <a16:creationId xmlns:a16="http://schemas.microsoft.com/office/drawing/2014/main" id="{AF50DF42-6EEA-4208-9C95-351EC875BBCC}"/>
                  </a:ext>
                </a:extLst>
              </p:cNvPr>
              <p:cNvSpPr txBox="1"/>
              <p:nvPr/>
            </p:nvSpPr>
            <p:spPr>
              <a:xfrm>
                <a:off x="5580112" y="3365937"/>
                <a:ext cx="102297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MX" b="0" i="1" smtClean="0">
                          <a:latin typeface="Cambria Math" panose="02040503050406030204" pitchFamily="18" charset="0"/>
                        </a:rPr>
                        <m:t>𝑢</m:t>
                      </m:r>
                      <m:r>
                        <a:rPr lang="es-MX" b="0" i="1" smtClean="0">
                          <a:latin typeface="Cambria Math" panose="02040503050406030204" pitchFamily="18" charset="0"/>
                        </a:rPr>
                        <m:t>=∆</m:t>
                      </m:r>
                      <m:sSub>
                        <m:sSubPr>
                          <m:ctrlPr>
                            <a:rPr lang="es-MX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𝑀</m:t>
                          </m:r>
                        </m:e>
                        <m:sub>
                          <m:r>
                            <a:rPr lang="es-MX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𝑧</m:t>
                          </m:r>
                          <m:r>
                            <a:rPr lang="es-MX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s-MX" dirty="0"/>
              </a:p>
            </p:txBody>
          </p:sp>
        </mc:Choice>
        <mc:Fallback xmlns="">
          <p:sp>
            <p:nvSpPr>
              <p:cNvPr id="20" name="CuadroTexto 19">
                <a:extLst>
                  <a:ext uri="{FF2B5EF4-FFF2-40B4-BE49-F238E27FC236}">
                    <a16:creationId xmlns:a16="http://schemas.microsoft.com/office/drawing/2014/main" id="{AF50DF42-6EEA-4208-9C95-351EC875BBC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80112" y="3365937"/>
                <a:ext cx="1022972" cy="276999"/>
              </a:xfrm>
              <a:prstGeom prst="rect">
                <a:avLst/>
              </a:prstGeom>
              <a:blipFill>
                <a:blip r:embed="rId6"/>
                <a:stretch>
                  <a:fillRect l="-2381" r="-1786" b="-17391"/>
                </a:stretch>
              </a:blipFill>
            </p:spPr>
            <p:txBody>
              <a:bodyPr/>
              <a:lstStyle/>
              <a:p>
                <a:r>
                  <a:rPr lang="es-MX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90744509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OPTIONS" val="Public;Internal;Confidential;Third-Party Confidentia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PRESI_FIRST_SLIDENUMBER" val="1"/>
  <p:tag name="MIO_FALLBACK_LAYOUT" val="14"/>
  <p:tag name="MIO_SHOW_DATE" val="True"/>
  <p:tag name="MIO_SHOW_FOOTER" val="True"/>
  <p:tag name="MIO_SHOW_PAGENUMBER" val="True"/>
  <p:tag name="MIO_AVOID_BLANK_LAYOUT" val="False"/>
  <p:tag name="MIO_NUMBER_OF_VALID_LAYOUTS" val="18"/>
  <p:tag name="MIO_MST_COLOR_1" val="0,0,0,Dunkel 1"/>
  <p:tag name="MIO_MST_COLOR_2" val="255,255,255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HDS" val="True"/>
  <p:tag name="MIO_EK" val="10311"/>
  <p:tag name="MIO_UPDATE" val="True"/>
  <p:tag name="MIO_VERSION" val="30.06.2017 15:29:39"/>
  <p:tag name="MIO_DBID" val="ED9FF2F2-6643-46BA-B685-7D49126FFAFF"/>
  <p:tag name="MIO_LASTDOWNLOADED" val="10.07.2017 14:56:51"/>
  <p:tag name="MIO_OBJECTNAME" val="Automotive, 16x9"/>
  <p:tag name="MIO_LASTEDITORNAME" val="Leon Kirchner_ex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"/>
  <p:tag name="MIO_SHOW_DATE" val="False"/>
  <p:tag name="MIO_SHOW_FOOTER" val="False"/>
  <p:tag name="MIO_SHOW_PAGENUMBER" val="False"/>
  <p:tag name="MIO_AVOID_BLANK_LAYOUT" val="True"/>
  <p:tag name="MIO_NUMBER_OF_VALID_LAYOUTS" val="18"/>
  <p:tag name="MIO_MST_COLOR_1" val="0,0,0,Dunkel 1"/>
  <p:tag name="MIO_MST_COLOR_2" val="255,255,255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HDS" val="True"/>
  <p:tag name="MIO_EK" val="10311"/>
  <p:tag name="MIO_UPDATE" val="True"/>
  <p:tag name="MIO_VERSION" val="15.02.2018 16:15:32"/>
  <p:tag name="MIO_DBID" val="ED9FF2F2-6643-46BA-B685-7D49126FFAFF"/>
  <p:tag name="MIO_LASTDOWNLOADED" val="25.05.2020 13:48:26"/>
  <p:tag name="MIO_OBJECTNAME" val="Automotive, 16x9"/>
</p:tagLst>
</file>

<file path=ppt/theme/theme1.xml><?xml version="1.0" encoding="utf-8"?>
<a:theme xmlns:a="http://schemas.openxmlformats.org/drawingml/2006/main" name="Continental AG, 16x9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995</TotalTime>
  <Words>1010</Words>
  <Application>Microsoft Office PowerPoint</Application>
  <PresentationFormat>Presentación en pantalla (16:9)</PresentationFormat>
  <Paragraphs>158</Paragraphs>
  <Slides>12</Slides>
  <Notes>7</Notes>
  <HiddenSlides>0</HiddenSlides>
  <MMClips>0</MMClips>
  <ScaleCrop>false</ScaleCrop>
  <HeadingPairs>
    <vt:vector size="6" baseType="variant">
      <vt:variant>
        <vt:lpstr>Fuentes usadas</vt:lpstr>
      </vt:variant>
      <vt:variant>
        <vt:i4>2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12</vt:i4>
      </vt:variant>
    </vt:vector>
  </HeadingPairs>
  <TitlesOfParts>
    <vt:vector size="15" baseType="lpstr">
      <vt:lpstr>Arial</vt:lpstr>
      <vt:lpstr>Cambria Math</vt:lpstr>
      <vt:lpstr>Continental AG, 16x9</vt:lpstr>
      <vt:lpstr>Lateral Control Passenger Cars with Trailer</vt:lpstr>
      <vt:lpstr>Analytical model of vehicle-trailer combination </vt:lpstr>
      <vt:lpstr>Presentación de PowerPoint</vt:lpstr>
      <vt:lpstr>Presentación de PowerPoint</vt:lpstr>
      <vt:lpstr>Dynamic equations </vt:lpstr>
      <vt:lpstr>Dynamic equations </vt:lpstr>
      <vt:lpstr>Dynamic equations </vt:lpstr>
      <vt:lpstr>Dynamic equations </vt:lpstr>
      <vt:lpstr>Dynamic equations </vt:lpstr>
      <vt:lpstr>System of linear equations to the vehicle-trailer combination</vt:lpstr>
      <vt:lpstr>Presentación de PowerPoint</vt:lpstr>
      <vt:lpstr>Presentación de PowerPoint</vt:lpstr>
    </vt:vector>
  </TitlesOfParts>
  <Company>Continental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tinez Ramirez, Julio (uic26460)</dc:creator>
  <cp:lastModifiedBy>Sara Moreno</cp:lastModifiedBy>
  <cp:revision>25</cp:revision>
  <dcterms:created xsi:type="dcterms:W3CDTF">2018-02-15T15:15:31Z</dcterms:created>
  <dcterms:modified xsi:type="dcterms:W3CDTF">2020-06-18T05:39:39Z</dcterms:modified>
</cp:coreProperties>
</file>